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8"/>
  </p:sldMasterIdLst>
  <p:notesMasterIdLst>
    <p:notesMasterId r:id="rId44"/>
  </p:notesMasterIdLst>
  <p:handoutMasterIdLst>
    <p:handoutMasterId r:id="rId45"/>
  </p:handoutMasterIdLst>
  <p:sldIdLst>
    <p:sldId id="342" r:id="rId9"/>
    <p:sldId id="10759" r:id="rId10"/>
    <p:sldId id="313" r:id="rId11"/>
    <p:sldId id="1324" r:id="rId12"/>
    <p:sldId id="1325" r:id="rId13"/>
    <p:sldId id="1327" r:id="rId14"/>
    <p:sldId id="1328" r:id="rId15"/>
    <p:sldId id="1329" r:id="rId16"/>
    <p:sldId id="1331" r:id="rId17"/>
    <p:sldId id="1326" r:id="rId18"/>
    <p:sldId id="1332" r:id="rId19"/>
    <p:sldId id="1330" r:id="rId20"/>
    <p:sldId id="1333" r:id="rId21"/>
    <p:sldId id="1334" r:id="rId22"/>
    <p:sldId id="10758" r:id="rId23"/>
    <p:sldId id="908" r:id="rId24"/>
    <p:sldId id="912" r:id="rId25"/>
    <p:sldId id="913" r:id="rId26"/>
    <p:sldId id="914" r:id="rId27"/>
    <p:sldId id="915" r:id="rId28"/>
    <p:sldId id="3309" r:id="rId29"/>
    <p:sldId id="3545" r:id="rId30"/>
    <p:sldId id="282" r:id="rId31"/>
    <p:sldId id="3551" r:id="rId32"/>
    <p:sldId id="3522" r:id="rId33"/>
    <p:sldId id="3552" r:id="rId34"/>
    <p:sldId id="1179" r:id="rId35"/>
    <p:sldId id="1180" r:id="rId36"/>
    <p:sldId id="1181" r:id="rId37"/>
    <p:sldId id="3546" r:id="rId38"/>
    <p:sldId id="3547" r:id="rId39"/>
    <p:sldId id="9595" r:id="rId40"/>
    <p:sldId id="10757" r:id="rId41"/>
    <p:sldId id="358" r:id="rId42"/>
    <p:sldId id="268"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slides" id="{DB952CA2-F37E-4B72-9E03-5C01D6602214}">
          <p14:sldIdLst>
            <p14:sldId id="342"/>
          </p14:sldIdLst>
        </p14:section>
        <p14:section name="Zusammenfassungsabschnitt" id="{0EDE3C33-6AA4-4DD0-9CF0-7DBA26A3724C}">
          <p14:sldIdLst>
            <p14:sldId id="10759"/>
          </p14:sldIdLst>
        </p14:section>
        <p14:section name="SIGUARD PDP" id="{C54510C2-4863-4A6A-825E-537E19B105CC}">
          <p14:sldIdLst>
            <p14:sldId id="313"/>
            <p14:sldId id="1324"/>
            <p14:sldId id="1325"/>
            <p14:sldId id="1327"/>
            <p14:sldId id="1328"/>
            <p14:sldId id="1329"/>
            <p14:sldId id="1331"/>
            <p14:sldId id="1326"/>
            <p14:sldId id="1332"/>
            <p14:sldId id="1330"/>
            <p14:sldId id="1333"/>
            <p14:sldId id="1334"/>
          </p14:sldIdLst>
        </p14:section>
        <p14:section name="System Overview" id="{9364B3CB-FDE9-42FC-A28F-FD59BF564FA6}">
          <p14:sldIdLst>
            <p14:sldId id="10758"/>
            <p14:sldId id="908"/>
            <p14:sldId id="912"/>
            <p14:sldId id="913"/>
            <p14:sldId id="914"/>
            <p14:sldId id="915"/>
            <p14:sldId id="3309"/>
            <p14:sldId id="3545"/>
            <p14:sldId id="282"/>
            <p14:sldId id="3551"/>
            <p14:sldId id="3522"/>
            <p14:sldId id="3552"/>
            <p14:sldId id="1179"/>
            <p14:sldId id="1180"/>
            <p14:sldId id="1181"/>
            <p14:sldId id="3546"/>
            <p14:sldId id="3547"/>
            <p14:sldId id="9595"/>
            <p14:sldId id="10757"/>
          </p14:sldIdLst>
        </p14:section>
        <p14:section name="Disclaimer, contact" id="{0D568892-780D-4C8E-9447-F21546C88527}">
          <p14:sldIdLst>
            <p14:sldId id="358"/>
            <p14:sldId id="268"/>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ny Welle" initials="DW" lastIdx="1" clrIdx="0">
    <p:extLst>
      <p:ext uri="{19B8F6BF-5375-455C-9EA6-DF929625EA0E}">
        <p15:presenceInfo xmlns:p15="http://schemas.microsoft.com/office/powerpoint/2012/main" userId="S::denwelle1@publicisgroupe.net::08b00602-60fa-48c3-96fb-06a947b67cd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27"/>
    <a:srgbClr val="00999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ED18ED5-9543-4135-B22E-605BBB29A870}" v="382" dt="2021-05-15T09:59:20.582"/>
  </p1510:revLst>
</p1510:revInfo>
</file>

<file path=ppt/tableStyles.xml><?xml version="1.0" encoding="utf-8"?>
<a:tblStyleLst xmlns:a="http://schemas.openxmlformats.org/drawingml/2006/main" def="{0E3FDE45-AF77-4B5C-9715-49D594BDF05E}">
  <a:tblStyle styleId="{0E3FDE45-AF77-4B5C-9715-49D594BDF05E}" styleName="Light Style 1 - Accent 2">
    <a:wholeTbl>
      <a:tcTxStyle>
        <a:fontRef idx="minor">
          <a:scrgbClr r="0" g="0" b="0"/>
        </a:fontRef>
        <a:schemeClr val="tx1"/>
      </a:tcTxStyle>
      <a:tcStyle>
        <a:tcBdr>
          <a:left>
            <a:ln>
              <a:noFill/>
            </a:ln>
          </a:left>
          <a:right>
            <a:ln>
              <a:noFill/>
            </a:ln>
          </a:right>
          <a:top>
            <a:ln>
              <a:noFill/>
            </a:ln>
          </a:top>
          <a:bottom>
            <a:ln w="12700" cmpd="sng">
              <a:solidFill>
                <a:schemeClr val="accent6">
                  <a:alpha val="15000"/>
                </a:schemeClr>
              </a:solidFill>
            </a:ln>
          </a:bottom>
          <a:insideH>
            <a:ln w="12700" cmpd="sng">
              <a:solidFill>
                <a:schemeClr val="accent6">
                  <a:alpha val="15000"/>
                </a:schemeClr>
              </a:solidFill>
            </a:ln>
          </a:insideH>
          <a:insideV>
            <a:ln>
              <a:noFill/>
            </a:ln>
          </a:insideV>
        </a:tcBdr>
        <a:fill>
          <a:noFill/>
        </a:fill>
      </a:tcStyle>
    </a:wholeTbl>
    <a:band1H>
      <a:tcStyle>
        <a:tcBdr>
          <a:bottom>
            <a:ln w="12700" cmpd="sng">
              <a:solidFill>
                <a:schemeClr val="accent6">
                  <a:alpha val="15000"/>
                </a:schemeClr>
              </a:solidFill>
            </a:ln>
          </a:bottom>
        </a:tcBdr>
        <a:fill>
          <a:solidFill>
            <a:schemeClr val="accent6">
              <a:alpha val="5000"/>
            </a:schemeClr>
          </a:solidFill>
        </a:fill>
      </a:tcStyle>
    </a:band1H>
    <a:band2H>
      <a:tcStyle>
        <a:tcBdr>
          <a:bottom>
            <a:ln w="12700" cmpd="sng">
              <a:solidFill>
                <a:schemeClr val="accent6">
                  <a:alpha val="15000"/>
                </a:schemeClr>
              </a:solidFill>
            </a:ln>
          </a:bottom>
        </a:tcBdr>
      </a:tcStyle>
    </a:band2H>
    <a:band1V>
      <a:tcStyle>
        <a:tcBdr/>
        <a:fill>
          <a:solidFill>
            <a:schemeClr val="accent6">
              <a:alpha val="5000"/>
            </a:schemeClr>
          </a:solidFill>
        </a:fill>
      </a:tcStyle>
    </a:band1V>
    <a:lastCol>
      <a:tcTxStyle b="on"/>
      <a:tcStyle>
        <a:tcBdr/>
      </a:tcStyle>
    </a:lastCol>
    <a:firstCol>
      <a:tcTxStyle b="on"/>
      <a:tcStyle>
        <a:tcBdr/>
      </a:tcStyle>
    </a:firstCol>
    <a:lastRow>
      <a:tcTxStyle b="on"/>
      <a:tcStyle>
        <a:tcBdr>
          <a:bottom>
            <a:ln w="28575" cmpd="sng">
              <a:solidFill>
                <a:schemeClr val="dk1"/>
              </a:solidFill>
            </a:ln>
          </a:bottom>
        </a:tcBdr>
        <a:fill>
          <a:noFill/>
        </a:fill>
      </a:tcStyle>
    </a:lastRow>
    <a:firstRow>
      <a:tcTxStyle b="on"/>
      <a:tcStyle>
        <a:tcBdr>
          <a:bottom>
            <a:ln w="28575" cmpd="sng">
              <a:solidFill>
                <a:schemeClr val="dk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84" autoAdjust="0"/>
    <p:restoredTop sz="97461" autoAdjust="0"/>
  </p:normalViewPr>
  <p:slideViewPr>
    <p:cSldViewPr snapToGrid="0" showGuides="1">
      <p:cViewPr varScale="1">
        <p:scale>
          <a:sx n="108" d="100"/>
          <a:sy n="108" d="100"/>
        </p:scale>
        <p:origin x="918" y="96"/>
      </p:cViewPr>
      <p:guideLst>
        <p:guide pos="3840"/>
        <p:guide orient="horz" pos="216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howGuides="1">
      <p:cViewPr varScale="1">
        <p:scale>
          <a:sx n="121" d="100"/>
          <a:sy n="121" d="100"/>
        </p:scale>
        <p:origin x="4188" y="12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customXml" Target="../customXml/item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handoutMaster" Target="handoutMasters/handoutMaster1.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notesMaster" Target="notesMasters/notesMaster1.xml"/><Relationship Id="rId52"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viewProps" Target="viewProps.xml"/><Relationship Id="rId8" Type="http://schemas.openxmlformats.org/officeDocument/2006/relationships/slideMaster" Target="slideMasters/slideMaster1.xml"/><Relationship Id="rId51"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tzinger, Andreas (SI DG EA-P&amp;R DE-HP)" userId="c25b88bd-eaef-4d49-a38b-c71cdd90972b" providerId="ADAL" clId="{9ED18ED5-9543-4135-B22E-605BBB29A870}"/>
    <pc:docChg chg="undo redo custSel modSld">
      <pc:chgData name="Litzinger, Andreas (SI DG EA-P&amp;R DE-HP)" userId="c25b88bd-eaef-4d49-a38b-c71cdd90972b" providerId="ADAL" clId="{9ED18ED5-9543-4135-B22E-605BBB29A870}" dt="2021-05-15T09:59:20.582" v="551" actId="14"/>
      <pc:docMkLst>
        <pc:docMk/>
      </pc:docMkLst>
      <pc:sldChg chg="modSp mod modClrScheme chgLayout">
        <pc:chgData name="Litzinger, Andreas (SI DG EA-P&amp;R DE-HP)" userId="c25b88bd-eaef-4d49-a38b-c71cdd90972b" providerId="ADAL" clId="{9ED18ED5-9543-4135-B22E-605BBB29A870}" dt="2021-05-15T09:55:21.740" v="550" actId="14100"/>
        <pc:sldMkLst>
          <pc:docMk/>
          <pc:sldMk cId="2159355435" sldId="342"/>
        </pc:sldMkLst>
        <pc:spChg chg="mod ord">
          <ac:chgData name="Litzinger, Andreas (SI DG EA-P&amp;R DE-HP)" userId="c25b88bd-eaef-4d49-a38b-c71cdd90972b" providerId="ADAL" clId="{9ED18ED5-9543-4135-B22E-605BBB29A870}" dt="2021-05-15T09:54:44.715" v="547" actId="207"/>
          <ac:spMkLst>
            <pc:docMk/>
            <pc:sldMk cId="2159355435" sldId="342"/>
            <ac:spMk id="2" creationId="{8FDA17C2-CC0D-4A70-A1C4-4DAA44F64772}"/>
          </ac:spMkLst>
        </pc:spChg>
        <pc:spChg chg="mod ord">
          <ac:chgData name="Litzinger, Andreas (SI DG EA-P&amp;R DE-HP)" userId="c25b88bd-eaef-4d49-a38b-c71cdd90972b" providerId="ADAL" clId="{9ED18ED5-9543-4135-B22E-605BBB29A870}" dt="2021-05-15T09:54:19.942" v="519" actId="207"/>
          <ac:spMkLst>
            <pc:docMk/>
            <pc:sldMk cId="2159355435" sldId="342"/>
            <ac:spMk id="6" creationId="{DA865AB3-8AE0-4AB0-94C2-2E517EC147DE}"/>
          </ac:spMkLst>
        </pc:spChg>
        <pc:spChg chg="mod ord">
          <ac:chgData name="Litzinger, Andreas (SI DG EA-P&amp;R DE-HP)" userId="c25b88bd-eaef-4d49-a38b-c71cdd90972b" providerId="ADAL" clId="{9ED18ED5-9543-4135-B22E-605BBB29A870}" dt="2021-05-15T09:55:21.740" v="550" actId="14100"/>
          <ac:spMkLst>
            <pc:docMk/>
            <pc:sldMk cId="2159355435" sldId="342"/>
            <ac:spMk id="17" creationId="{9F1C4C08-3D5C-4C0E-914A-F70CA07D0654}"/>
          </ac:spMkLst>
        </pc:spChg>
      </pc:sldChg>
      <pc:sldChg chg="modSp">
        <pc:chgData name="Litzinger, Andreas (SI DG EA-P&amp;R DE-HP)" userId="c25b88bd-eaef-4d49-a38b-c71cdd90972b" providerId="ADAL" clId="{9ED18ED5-9543-4135-B22E-605BBB29A870}" dt="2021-05-15T09:43:47.065" v="382" actId="20577"/>
        <pc:sldMkLst>
          <pc:docMk/>
          <pc:sldMk cId="2039690534" sldId="1328"/>
        </pc:sldMkLst>
        <pc:spChg chg="mod">
          <ac:chgData name="Litzinger, Andreas (SI DG EA-P&amp;R DE-HP)" userId="c25b88bd-eaef-4d49-a38b-c71cdd90972b" providerId="ADAL" clId="{9ED18ED5-9543-4135-B22E-605BBB29A870}" dt="2021-05-15T09:43:47.065" v="382" actId="20577"/>
          <ac:spMkLst>
            <pc:docMk/>
            <pc:sldMk cId="2039690534" sldId="1328"/>
            <ac:spMk id="3" creationId="{C484DDAD-804F-42F1-9DBD-91442189A9C7}"/>
          </ac:spMkLst>
        </pc:spChg>
      </pc:sldChg>
      <pc:sldChg chg="modSp mod addAnim delAnim modAnim">
        <pc:chgData name="Litzinger, Andreas (SI DG EA-P&amp;R DE-HP)" userId="c25b88bd-eaef-4d49-a38b-c71cdd90972b" providerId="ADAL" clId="{9ED18ED5-9543-4135-B22E-605BBB29A870}" dt="2021-05-15T09:40:13.229" v="227" actId="20577"/>
        <pc:sldMkLst>
          <pc:docMk/>
          <pc:sldMk cId="997671788" sldId="1329"/>
        </pc:sldMkLst>
        <pc:spChg chg="mod">
          <ac:chgData name="Litzinger, Andreas (SI DG EA-P&amp;R DE-HP)" userId="c25b88bd-eaef-4d49-a38b-c71cdd90972b" providerId="ADAL" clId="{9ED18ED5-9543-4135-B22E-605BBB29A870}" dt="2021-05-15T09:40:13.229" v="227" actId="20577"/>
          <ac:spMkLst>
            <pc:docMk/>
            <pc:sldMk cId="997671788" sldId="1329"/>
            <ac:spMk id="3" creationId="{C484DDAD-804F-42F1-9DBD-91442189A9C7}"/>
          </ac:spMkLst>
        </pc:spChg>
      </pc:sldChg>
      <pc:sldChg chg="modSp modAnim">
        <pc:chgData name="Litzinger, Andreas (SI DG EA-P&amp;R DE-HP)" userId="c25b88bd-eaef-4d49-a38b-c71cdd90972b" providerId="ADAL" clId="{9ED18ED5-9543-4135-B22E-605BBB29A870}" dt="2021-05-15T09:59:20.582" v="551" actId="14"/>
        <pc:sldMkLst>
          <pc:docMk/>
          <pc:sldMk cId="1785750908" sldId="1331"/>
        </pc:sldMkLst>
        <pc:spChg chg="mod">
          <ac:chgData name="Litzinger, Andreas (SI DG EA-P&amp;R DE-HP)" userId="c25b88bd-eaef-4d49-a38b-c71cdd90972b" providerId="ADAL" clId="{9ED18ED5-9543-4135-B22E-605BBB29A870}" dt="2021-05-15T09:59:20.582" v="551" actId="14"/>
          <ac:spMkLst>
            <pc:docMk/>
            <pc:sldMk cId="1785750908" sldId="1331"/>
            <ac:spMk id="3" creationId="{C484DDAD-804F-42F1-9DBD-91442189A9C7}"/>
          </ac:spMkLst>
        </pc:spChg>
      </pc:sldChg>
      <pc:sldChg chg="modSp">
        <pc:chgData name="Litzinger, Andreas (SI DG EA-P&amp;R DE-HP)" userId="c25b88bd-eaef-4d49-a38b-c71cdd90972b" providerId="ADAL" clId="{9ED18ED5-9543-4135-B22E-605BBB29A870}" dt="2021-05-15T09:42:08.556" v="329" actId="20577"/>
        <pc:sldMkLst>
          <pc:docMk/>
          <pc:sldMk cId="562472297" sldId="1333"/>
        </pc:sldMkLst>
        <pc:spChg chg="mod">
          <ac:chgData name="Litzinger, Andreas (SI DG EA-P&amp;R DE-HP)" userId="c25b88bd-eaef-4d49-a38b-c71cdd90972b" providerId="ADAL" clId="{9ED18ED5-9543-4135-B22E-605BBB29A870}" dt="2021-05-15T09:42:08.556" v="329" actId="20577"/>
          <ac:spMkLst>
            <pc:docMk/>
            <pc:sldMk cId="562472297" sldId="1333"/>
            <ac:spMk id="5" creationId="{D4AB2125-5368-4A6D-A8E5-D20F6F033BB7}"/>
          </ac:spMkLst>
        </pc:spChg>
      </pc:sldChg>
      <pc:sldChg chg="modSp">
        <pc:chgData name="Litzinger, Andreas (SI DG EA-P&amp;R DE-HP)" userId="c25b88bd-eaef-4d49-a38b-c71cdd90972b" providerId="ADAL" clId="{9ED18ED5-9543-4135-B22E-605BBB29A870}" dt="2021-05-15T09:42:01.648" v="325" actId="113"/>
        <pc:sldMkLst>
          <pc:docMk/>
          <pc:sldMk cId="1240980816" sldId="1334"/>
        </pc:sldMkLst>
        <pc:spChg chg="mod">
          <ac:chgData name="Litzinger, Andreas (SI DG EA-P&amp;R DE-HP)" userId="c25b88bd-eaef-4d49-a38b-c71cdd90972b" providerId="ADAL" clId="{9ED18ED5-9543-4135-B22E-605BBB29A870}" dt="2021-05-15T09:42:01.648" v="325" actId="113"/>
          <ac:spMkLst>
            <pc:docMk/>
            <pc:sldMk cId="1240980816" sldId="1334"/>
            <ac:spMk id="3" creationId="{752E8E18-4B0A-406A-8F39-C9607E33BD64}"/>
          </ac:spMkLst>
        </pc:spChg>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a:extLst>
              <a:ext uri="{FF2B5EF4-FFF2-40B4-BE49-F238E27FC236}">
                <a16:creationId xmlns:a16="http://schemas.microsoft.com/office/drawing/2014/main" id="{9A8492AF-21D1-4EA9-B88E-2B2469E5B0BF}"/>
              </a:ext>
            </a:extLst>
          </p:cNvP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200"/>
            </a:lvl1pPr>
          </a:lstStyle>
          <a:p>
            <a:endParaRPr lang="en-US" sz="1050" b="1" dirty="0"/>
          </a:p>
        </p:txBody>
      </p:sp>
      <p:sp>
        <p:nvSpPr>
          <p:cNvPr id="3" name="Date">
            <a:extLst>
              <a:ext uri="{FF2B5EF4-FFF2-40B4-BE49-F238E27FC236}">
                <a16:creationId xmlns:a16="http://schemas.microsoft.com/office/drawing/2014/main" id="{F2C5CF11-9AB8-4366-83D6-4A911EAE67AA}"/>
              </a:ext>
            </a:extLst>
          </p:cNvPr>
          <p:cNvSpPr>
            <a:spLocks noGrp="1"/>
          </p:cNvSpPr>
          <p:nvPr>
            <p:ph type="dt" sz="quarter" idx="1"/>
          </p:nvPr>
        </p:nvSpPr>
        <p:spPr>
          <a:xfrm>
            <a:off x="5086800" y="0"/>
            <a:ext cx="1771200" cy="360000"/>
          </a:xfrm>
          <a:prstGeom prst="rect">
            <a:avLst/>
          </a:prstGeom>
        </p:spPr>
        <p:txBody>
          <a:bodyPr vert="horz" lIns="91440" tIns="45720" rIns="91440" bIns="45720" rtlCol="0"/>
          <a:lstStyle>
            <a:lvl1pPr algn="r">
              <a:defRPr sz="1200"/>
            </a:lvl1pPr>
          </a:lstStyle>
          <a:p>
            <a:fld id="{FEF1F2B9-B350-4061-A6D1-2A3340A8623F}" type="datetimeFigureOut">
              <a:rPr lang="en-US" sz="1050" smtClean="0"/>
              <a:t>5/15/2021</a:t>
            </a:fld>
            <a:endParaRPr lang="en-US" sz="1050" dirty="0"/>
          </a:p>
        </p:txBody>
      </p:sp>
      <p:sp>
        <p:nvSpPr>
          <p:cNvPr id="4" name="Footer Placeholder">
            <a:extLst>
              <a:ext uri="{FF2B5EF4-FFF2-40B4-BE49-F238E27FC236}">
                <a16:creationId xmlns:a16="http://schemas.microsoft.com/office/drawing/2014/main" id="{9797856F-D8D3-4EDB-AD63-B3F84321424C}"/>
              </a:ext>
            </a:extLst>
          </p:cNvPr>
          <p:cNvSpPr>
            <a:spLocks noGrp="1"/>
          </p:cNvSpPr>
          <p:nvPr>
            <p:ph type="ftr" sz="quarter" idx="2"/>
          </p:nvPr>
        </p:nvSpPr>
        <p:spPr>
          <a:xfrm>
            <a:off x="0" y="8784000"/>
            <a:ext cx="4363200" cy="360000"/>
          </a:xfrm>
          <a:prstGeom prst="rect">
            <a:avLst/>
          </a:prstGeom>
        </p:spPr>
        <p:txBody>
          <a:bodyPr vert="horz" lIns="91440" tIns="45720" rIns="91440" bIns="45720" rtlCol="0" anchor="b"/>
          <a:lstStyle>
            <a:lvl1pPr algn="l">
              <a:defRPr sz="1200"/>
            </a:lvl1pPr>
          </a:lstStyle>
          <a:p>
            <a:endParaRPr lang="en-US" sz="1050" dirty="0"/>
          </a:p>
        </p:txBody>
      </p:sp>
      <p:sp>
        <p:nvSpPr>
          <p:cNvPr id="5" name="Slide Number Placeholder">
            <a:extLst>
              <a:ext uri="{FF2B5EF4-FFF2-40B4-BE49-F238E27FC236}">
                <a16:creationId xmlns:a16="http://schemas.microsoft.com/office/drawing/2014/main" id="{DA566997-7A2F-418F-AC55-BAC678F9F134}"/>
              </a:ext>
            </a:extLst>
          </p:cNvPr>
          <p:cNvSpPr>
            <a:spLocks noGrp="1"/>
          </p:cNvSpPr>
          <p:nvPr>
            <p:ph type="sldNum" sz="quarter" idx="3"/>
          </p:nvPr>
        </p:nvSpPr>
        <p:spPr>
          <a:xfrm>
            <a:off x="5086800" y="8784000"/>
            <a:ext cx="1771200" cy="360000"/>
          </a:xfrm>
          <a:prstGeom prst="rect">
            <a:avLst/>
          </a:prstGeom>
        </p:spPr>
        <p:txBody>
          <a:bodyPr vert="horz" lIns="91440" tIns="45720" rIns="91440" bIns="45720" rtlCol="0" anchor="b"/>
          <a:lstStyle>
            <a:lvl1pPr algn="r">
              <a:defRPr sz="1200"/>
            </a:lvl1pPr>
          </a:lstStyle>
          <a:p>
            <a:r>
              <a:rPr lang="en-US" sz="1050" b="1" dirty="0">
                <a:solidFill>
                  <a:schemeClr val="accent2"/>
                </a:solidFill>
              </a:rPr>
              <a:t>Hand out</a:t>
            </a:r>
            <a:r>
              <a:rPr lang="en-US" sz="1050" dirty="0">
                <a:solidFill>
                  <a:schemeClr val="accent2"/>
                </a:solidFill>
              </a:rPr>
              <a:t> </a:t>
            </a:r>
            <a:fld id="{C92BABF8-1341-4DCB-864A-D83C08BEEAE4}" type="slidenum">
              <a:rPr lang="en-US" sz="1050" smtClean="0"/>
              <a:t>‹Nr.›</a:t>
            </a:fld>
            <a:endParaRPr lang="en-US" sz="1050" dirty="0"/>
          </a:p>
        </p:txBody>
      </p:sp>
      <p:pic>
        <p:nvPicPr>
          <p:cNvPr id="6" name="Siemens logo">
            <a:extLst>
              <a:ext uri="{FF2B5EF4-FFF2-40B4-BE49-F238E27FC236}">
                <a16:creationId xmlns:a16="http://schemas.microsoft.com/office/drawing/2014/main" id="{C5A460D9-E760-498F-8A06-286EB0B001C9}"/>
              </a:ext>
            </a:extLst>
          </p:cNvPr>
          <p:cNvPicPr>
            <a:picLocks noChangeAspect="1"/>
          </p:cNvPicPr>
          <p:nvPr/>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853000" y="550800"/>
            <a:ext cx="1152000" cy="183168"/>
          </a:xfrm>
          <a:prstGeom prst="rect">
            <a:avLst/>
          </a:prstGeom>
        </p:spPr>
      </p:pic>
    </p:spTree>
    <p:extLst>
      <p:ext uri="{BB962C8B-B14F-4D97-AF65-F5344CB8AC3E}">
        <p14:creationId xmlns:p14="http://schemas.microsoft.com/office/powerpoint/2010/main" val="13597834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p:cNvSpPr>
            <a:spLocks noGrp="1"/>
          </p:cNvSpPr>
          <p:nvPr>
            <p:ph type="hdr" sz="quarter"/>
          </p:nvPr>
        </p:nvSpPr>
        <p:spPr>
          <a:xfrm>
            <a:off x="0" y="0"/>
            <a:ext cx="4363200" cy="360000"/>
          </a:xfrm>
          <a:prstGeom prst="rect">
            <a:avLst/>
          </a:prstGeom>
        </p:spPr>
        <p:txBody>
          <a:bodyPr vert="horz" lIns="91440" tIns="45720" rIns="91440" bIns="45720" rtlCol="0"/>
          <a:lstStyle>
            <a:lvl1pPr algn="l">
              <a:defRPr sz="1050" b="1"/>
            </a:lvl1pPr>
          </a:lstStyle>
          <a:p>
            <a:endParaRPr lang="en-US" dirty="0"/>
          </a:p>
        </p:txBody>
      </p:sp>
      <p:sp>
        <p:nvSpPr>
          <p:cNvPr id="3" name="Date"/>
          <p:cNvSpPr>
            <a:spLocks noGrp="1"/>
          </p:cNvSpPr>
          <p:nvPr>
            <p:ph type="dt" idx="1"/>
          </p:nvPr>
        </p:nvSpPr>
        <p:spPr>
          <a:xfrm>
            <a:off x="5086800" y="0"/>
            <a:ext cx="1771200" cy="360000"/>
          </a:xfrm>
          <a:prstGeom prst="rect">
            <a:avLst/>
          </a:prstGeom>
        </p:spPr>
        <p:txBody>
          <a:bodyPr vert="horz" lIns="91440" tIns="45720" rIns="91440" bIns="45720" rtlCol="0"/>
          <a:lstStyle>
            <a:lvl1pPr algn="r">
              <a:defRPr sz="1050"/>
            </a:lvl1pPr>
          </a:lstStyle>
          <a:p>
            <a:fld id="{76FBC1AF-E4C9-412F-9B6D-66CD520F95DB}" type="datetimeFigureOut">
              <a:rPr lang="en-US" smtClean="0"/>
              <a:pPr/>
              <a:t>5/15/2021</a:t>
            </a:fld>
            <a:endParaRPr lang="en-US" dirty="0"/>
          </a:p>
        </p:txBody>
      </p:sp>
      <p:sp>
        <p:nvSpPr>
          <p:cNvPr id="4" name="Slide Image Placeholder"/>
          <p:cNvSpPr>
            <a:spLocks noGrp="1" noRot="1" noChangeAspect="1"/>
          </p:cNvSpPr>
          <p:nvPr>
            <p:ph type="sldImg" idx="2"/>
          </p:nvPr>
        </p:nvSpPr>
        <p:spPr>
          <a:xfrm>
            <a:off x="406800" y="619200"/>
            <a:ext cx="6048000" cy="3402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p:cNvSpPr>
            <a:spLocks noGrp="1"/>
          </p:cNvSpPr>
          <p:nvPr>
            <p:ph type="body" sz="quarter" idx="3"/>
          </p:nvPr>
        </p:nvSpPr>
        <p:spPr>
          <a:xfrm>
            <a:off x="406800" y="4575600"/>
            <a:ext cx="6048000" cy="396000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 level</a:t>
            </a:r>
          </a:p>
          <a:p>
            <a:pPr lvl="8"/>
            <a:r>
              <a:rPr lang="en-US" dirty="0"/>
              <a:t>Ninth level</a:t>
            </a:r>
          </a:p>
        </p:txBody>
      </p:sp>
      <p:sp>
        <p:nvSpPr>
          <p:cNvPr id="6" name="Footer Placeholder"/>
          <p:cNvSpPr>
            <a:spLocks noGrp="1"/>
          </p:cNvSpPr>
          <p:nvPr>
            <p:ph type="ftr" sz="quarter" idx="4"/>
          </p:nvPr>
        </p:nvSpPr>
        <p:spPr>
          <a:xfrm>
            <a:off x="0" y="8784000"/>
            <a:ext cx="4363200" cy="360000"/>
          </a:xfrm>
          <a:prstGeom prst="rect">
            <a:avLst/>
          </a:prstGeom>
        </p:spPr>
        <p:txBody>
          <a:bodyPr vert="horz" lIns="91440" tIns="45720" rIns="91440" bIns="45720" rtlCol="0" anchor="b"/>
          <a:lstStyle>
            <a:lvl1pPr algn="l">
              <a:defRPr sz="1050"/>
            </a:lvl1pPr>
          </a:lstStyle>
          <a:p>
            <a:endParaRPr lang="en-US" dirty="0"/>
          </a:p>
        </p:txBody>
      </p:sp>
      <p:sp>
        <p:nvSpPr>
          <p:cNvPr id="7" name="Slide Number Placeholder"/>
          <p:cNvSpPr>
            <a:spLocks noGrp="1"/>
          </p:cNvSpPr>
          <p:nvPr>
            <p:ph type="sldNum" sz="quarter" idx="5"/>
          </p:nvPr>
        </p:nvSpPr>
        <p:spPr>
          <a:xfrm>
            <a:off x="5086800" y="8784000"/>
            <a:ext cx="1771200" cy="360000"/>
          </a:xfrm>
          <a:prstGeom prst="rect">
            <a:avLst/>
          </a:prstGeom>
        </p:spPr>
        <p:txBody>
          <a:bodyPr vert="horz" lIns="91440" tIns="45720" rIns="91440" bIns="45720" rtlCol="0" anchor="b"/>
          <a:lstStyle>
            <a:lvl1pPr algn="r">
              <a:defRPr sz="1050"/>
            </a:lvl1pPr>
          </a:lstStyle>
          <a:p>
            <a:r>
              <a:rPr lang="en-US" b="1" dirty="0">
                <a:solidFill>
                  <a:schemeClr val="accent2"/>
                </a:solidFill>
              </a:rPr>
              <a:t>Notes</a:t>
            </a:r>
            <a:r>
              <a:rPr lang="en-US" dirty="0"/>
              <a:t> </a:t>
            </a:r>
            <a:fld id="{E76C657F-0E32-4130-ADDA-66B81138A76A}" type="slidenum">
              <a:rPr lang="en-US" smtClean="0"/>
              <a:pPr/>
              <a:t>‹Nr.›</a:t>
            </a:fld>
            <a:endParaRPr lang="en-US" dirty="0"/>
          </a:p>
        </p:txBody>
      </p:sp>
    </p:spTree>
    <p:extLst>
      <p:ext uri="{BB962C8B-B14F-4D97-AF65-F5344CB8AC3E}">
        <p14:creationId xmlns:p14="http://schemas.microsoft.com/office/powerpoint/2010/main" val="527306072"/>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kern="1200">
        <a:solidFill>
          <a:schemeClr val="tx1"/>
        </a:solidFill>
        <a:latin typeface="+mn-lt"/>
        <a:ea typeface="+mn-ea"/>
        <a:cs typeface="+mn-cs"/>
      </a:defRPr>
    </a:lvl1pPr>
    <a:lvl2pPr marL="14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8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3pPr>
    <a:lvl4pPr marL="43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4pPr>
    <a:lvl5pPr marL="576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5pPr>
    <a:lvl6pPr marL="720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6pPr>
    <a:lvl7pPr marL="864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7pPr>
    <a:lvl8pPr marL="1008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8pPr>
    <a:lvl9pPr marL="1152000" indent="-144000" algn="l" defTabSz="914400" rtl="0" eaLnBrk="1" latinLnBrk="0" hangingPunct="1">
      <a:spcAft>
        <a:spcPts val="300"/>
      </a:spcAft>
      <a:buClr>
        <a:schemeClr val="accent1"/>
      </a:buClr>
      <a:buFont typeface="Arial" panose="020B0604020202020204" pitchFamily="34" charset="0"/>
      <a:buChar char="•"/>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a:xfrm>
            <a:off x="406400" y="619125"/>
            <a:ext cx="6048375" cy="3402013"/>
          </a:xfrm>
          <a:ln/>
        </p:spPr>
      </p:sp>
      <p:sp>
        <p:nvSpPr>
          <p:cNvPr id="7577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dirty="0">
                <a:solidFill>
                  <a:schemeClr val="tx1"/>
                </a:solidFill>
              </a:rPr>
              <a:t>An SPS does not include (a) underfrequency or undervoltage load shedding or (b) fault conditions that must be isolated or (c) out-of-</a:t>
            </a:r>
            <a:r>
              <a:rPr lang="en-US" sz="1200" dirty="0" err="1">
                <a:solidFill>
                  <a:schemeClr val="tx1"/>
                </a:solidFill>
              </a:rPr>
              <a:t>steping</a:t>
            </a:r>
            <a:r>
              <a:rPr lang="en-US" sz="1200" dirty="0">
                <a:solidFill>
                  <a:schemeClr val="tx1"/>
                </a:solidFill>
              </a:rPr>
              <a:t> relaying (not designed as an integral part of an SPS). Also called Remedial Action Scheme.</a:t>
            </a:r>
            <a:endParaRPr lang="en-US" altLang="de-DE" dirty="0">
              <a:latin typeface="Arial" charset="0"/>
              <a:ea typeface="ＭＳ Ｐゴシック" pitchFamily="34" charset="-128"/>
            </a:endParaRPr>
          </a:p>
        </p:txBody>
      </p:sp>
    </p:spTree>
    <p:extLst>
      <p:ext uri="{BB962C8B-B14F-4D97-AF65-F5344CB8AC3E}">
        <p14:creationId xmlns:p14="http://schemas.microsoft.com/office/powerpoint/2010/main" val="38616230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normAutofit/>
          </a:bodyPr>
          <a:lstStyle/>
          <a:p>
            <a:r>
              <a:rPr lang="de-DE" dirty="0"/>
              <a:t>A redundant </a:t>
            </a:r>
            <a:r>
              <a:rPr lang="de-DE" dirty="0" err="1"/>
              <a:t>phasor</a:t>
            </a:r>
            <a:r>
              <a:rPr lang="de-DE" dirty="0"/>
              <a:t> </a:t>
            </a:r>
            <a:r>
              <a:rPr lang="de-DE" dirty="0" err="1"/>
              <a:t>data</a:t>
            </a:r>
            <a:r>
              <a:rPr lang="de-DE" dirty="0"/>
              <a:t> </a:t>
            </a:r>
            <a:r>
              <a:rPr lang="de-DE" dirty="0" err="1"/>
              <a:t>procesor</a:t>
            </a:r>
            <a:r>
              <a:rPr lang="de-DE" dirty="0"/>
              <a:t>  </a:t>
            </a:r>
            <a:r>
              <a:rPr lang="de-DE" dirty="0" err="1"/>
              <a:t>Siguard</a:t>
            </a:r>
            <a:r>
              <a:rPr lang="de-DE" dirty="0"/>
              <a:t> PDP in </a:t>
            </a:r>
            <a:r>
              <a:rPr lang="de-DE" dirty="0" err="1"/>
              <a:t>configuration</a:t>
            </a:r>
            <a:r>
              <a:rPr lang="de-DE" dirty="0"/>
              <a:t> </a:t>
            </a:r>
            <a:r>
              <a:rPr lang="de-DE" dirty="0" err="1"/>
              <a:t>of</a:t>
            </a:r>
            <a:r>
              <a:rPr lang="de-DE" dirty="0"/>
              <a:t> Main 1 and Main 2 </a:t>
            </a:r>
            <a:r>
              <a:rPr lang="de-DE" dirty="0" err="1"/>
              <a:t>to</a:t>
            </a:r>
            <a:r>
              <a:rPr lang="de-DE" dirty="0"/>
              <a:t> </a:t>
            </a:r>
            <a:r>
              <a:rPr lang="de-DE" dirty="0" err="1"/>
              <a:t>calculate</a:t>
            </a:r>
            <a:r>
              <a:rPr lang="de-DE" dirty="0"/>
              <a:t> </a:t>
            </a:r>
            <a:r>
              <a:rPr lang="de-DE" dirty="0" err="1"/>
              <a:t>the</a:t>
            </a:r>
            <a:r>
              <a:rPr lang="de-DE" dirty="0"/>
              <a:t> angle </a:t>
            </a:r>
            <a:r>
              <a:rPr lang="de-DE" dirty="0" err="1"/>
              <a:t>diference</a:t>
            </a:r>
            <a:r>
              <a:rPr lang="de-DE" dirty="0"/>
              <a:t> and </a:t>
            </a:r>
            <a:r>
              <a:rPr lang="de-DE" dirty="0" err="1"/>
              <a:t>able</a:t>
            </a:r>
            <a:r>
              <a:rPr lang="de-DE" dirty="0"/>
              <a:t> </a:t>
            </a:r>
            <a:r>
              <a:rPr lang="de-DE" dirty="0" err="1"/>
              <a:t>to</a:t>
            </a:r>
            <a:r>
              <a:rPr lang="de-DE" dirty="0"/>
              <a:t> do additional </a:t>
            </a:r>
            <a:r>
              <a:rPr lang="de-DE" dirty="0" err="1"/>
              <a:t>calcluation</a:t>
            </a:r>
            <a:r>
              <a:rPr lang="de-DE" dirty="0"/>
              <a:t> </a:t>
            </a:r>
            <a:r>
              <a:rPr lang="de-DE" dirty="0" err="1"/>
              <a:t>to</a:t>
            </a:r>
            <a:r>
              <a:rPr lang="de-DE" dirty="0"/>
              <a:t> </a:t>
            </a:r>
            <a:r>
              <a:rPr lang="de-DE" dirty="0" err="1"/>
              <a:t>calculate</a:t>
            </a:r>
            <a:r>
              <a:rPr lang="de-DE" dirty="0"/>
              <a:t> </a:t>
            </a:r>
            <a:r>
              <a:rPr lang="de-DE" dirty="0" err="1"/>
              <a:t>the</a:t>
            </a:r>
            <a:r>
              <a:rPr lang="de-DE" dirty="0"/>
              <a:t> </a:t>
            </a:r>
            <a:r>
              <a:rPr lang="de-DE" dirty="0" err="1"/>
              <a:t>active</a:t>
            </a:r>
            <a:r>
              <a:rPr lang="de-DE" dirty="0"/>
              <a:t> power</a:t>
            </a:r>
          </a:p>
          <a:p>
            <a:endParaRPr lang="de-DE" dirty="0"/>
          </a:p>
          <a:p>
            <a:r>
              <a:rPr lang="de-DE" dirty="0"/>
              <a:t>Redundant PMU </a:t>
            </a:r>
            <a:r>
              <a:rPr lang="de-DE" dirty="0" err="1"/>
              <a:t>Siprotec</a:t>
            </a:r>
            <a:r>
              <a:rPr lang="de-DE" dirty="0"/>
              <a:t> 5 7SJ85 in </a:t>
            </a:r>
            <a:r>
              <a:rPr lang="de-DE" dirty="0" err="1"/>
              <a:t>the</a:t>
            </a:r>
            <a:r>
              <a:rPr lang="de-DE" dirty="0"/>
              <a:t> </a:t>
            </a:r>
            <a:r>
              <a:rPr lang="de-DE" dirty="0" err="1"/>
              <a:t>station</a:t>
            </a:r>
            <a:r>
              <a:rPr lang="de-DE" dirty="0"/>
              <a:t>  </a:t>
            </a:r>
            <a:r>
              <a:rPr lang="de-DE" dirty="0" err="1"/>
              <a:t>level</a:t>
            </a:r>
            <a:r>
              <a:rPr lang="de-DE" dirty="0"/>
              <a:t> </a:t>
            </a:r>
            <a:r>
              <a:rPr lang="de-DE" dirty="0" err="1"/>
              <a:t>to</a:t>
            </a:r>
            <a:r>
              <a:rPr lang="de-DE" dirty="0"/>
              <a:t> </a:t>
            </a:r>
            <a:r>
              <a:rPr lang="de-DE" dirty="0" err="1"/>
              <a:t>collect</a:t>
            </a:r>
            <a:r>
              <a:rPr lang="de-DE" dirty="0"/>
              <a:t> </a:t>
            </a:r>
            <a:r>
              <a:rPr lang="de-DE" dirty="0" err="1"/>
              <a:t>the</a:t>
            </a:r>
            <a:r>
              <a:rPr lang="de-DE" dirty="0"/>
              <a:t> </a:t>
            </a:r>
            <a:r>
              <a:rPr lang="de-DE" dirty="0" err="1"/>
              <a:t>measurements</a:t>
            </a:r>
            <a:r>
              <a:rPr lang="de-DE" dirty="0"/>
              <a:t> and </a:t>
            </a:r>
            <a:r>
              <a:rPr lang="de-DE" dirty="0" err="1"/>
              <a:t>to</a:t>
            </a:r>
            <a:r>
              <a:rPr lang="de-DE" dirty="0"/>
              <a:t> send </a:t>
            </a:r>
            <a:r>
              <a:rPr lang="de-DE" dirty="0" err="1"/>
              <a:t>trip</a:t>
            </a:r>
            <a:r>
              <a:rPr lang="de-DE" dirty="0"/>
              <a:t> </a:t>
            </a:r>
            <a:r>
              <a:rPr lang="de-DE" dirty="0" err="1"/>
              <a:t>command</a:t>
            </a:r>
            <a:r>
              <a:rPr lang="de-DE" dirty="0"/>
              <a:t> </a:t>
            </a:r>
            <a:r>
              <a:rPr lang="de-DE" dirty="0" err="1"/>
              <a:t>to</a:t>
            </a:r>
            <a:r>
              <a:rPr lang="de-DE" dirty="0"/>
              <a:t> </a:t>
            </a:r>
            <a:r>
              <a:rPr lang="de-DE" dirty="0" err="1"/>
              <a:t>the</a:t>
            </a:r>
            <a:r>
              <a:rPr lang="de-DE" dirty="0"/>
              <a:t> </a:t>
            </a:r>
            <a:r>
              <a:rPr lang="de-DE" dirty="0" err="1"/>
              <a:t>Circut</a:t>
            </a:r>
            <a:r>
              <a:rPr lang="de-DE" dirty="0"/>
              <a:t> </a:t>
            </a:r>
            <a:r>
              <a:rPr lang="de-DE" dirty="0" err="1"/>
              <a:t>breaakers</a:t>
            </a:r>
            <a:endParaRPr lang="de-DE" dirty="0"/>
          </a:p>
          <a:p>
            <a:endParaRPr lang="de-DE" dirty="0"/>
          </a:p>
          <a:p>
            <a:pPr>
              <a:lnSpc>
                <a:spcPct val="110000"/>
              </a:lnSpc>
              <a:spcBef>
                <a:spcPts val="0"/>
              </a:spcBef>
              <a:spcAft>
                <a:spcPts val="1200"/>
              </a:spcAft>
            </a:pPr>
            <a:r>
              <a:rPr lang="en-US" dirty="0">
                <a:ea typeface="Arial Unicode MS"/>
                <a:cs typeface="Arial"/>
              </a:rPr>
              <a:t>MPLS Network to </a:t>
            </a:r>
            <a:r>
              <a:rPr lang="en-US" dirty="0" err="1">
                <a:ea typeface="Arial Unicode MS"/>
                <a:cs typeface="Arial"/>
              </a:rPr>
              <a:t>trasmit</a:t>
            </a:r>
            <a:r>
              <a:rPr lang="en-US" dirty="0">
                <a:ea typeface="Arial Unicode MS"/>
                <a:cs typeface="Arial"/>
              </a:rPr>
              <a:t> the GOOSE command to achieve tripping times  less than 200 </a:t>
            </a:r>
            <a:r>
              <a:rPr lang="en-US" dirty="0" err="1">
                <a:ea typeface="Arial Unicode MS"/>
                <a:cs typeface="Arial"/>
              </a:rPr>
              <a:t>ms</a:t>
            </a:r>
            <a:r>
              <a:rPr lang="en-US" dirty="0">
                <a:ea typeface="Arial Unicode MS"/>
                <a:cs typeface="Arial"/>
              </a:rPr>
              <a:t> over the WAN, a wide area network with lengths up to 500 km</a:t>
            </a:r>
          </a:p>
          <a:p>
            <a:pPr>
              <a:lnSpc>
                <a:spcPct val="110000"/>
              </a:lnSpc>
              <a:spcBef>
                <a:spcPts val="0"/>
              </a:spcBef>
              <a:spcAft>
                <a:spcPts val="1200"/>
              </a:spcAft>
            </a:pPr>
            <a:r>
              <a:rPr lang="en-US" dirty="0">
                <a:solidFill>
                  <a:schemeClr val="tx1"/>
                </a:solidFill>
                <a:ea typeface="Arial Unicode MS"/>
                <a:cs typeface="Arial"/>
              </a:rPr>
              <a:t>SICAM SCC to control and monitor the Wide Area Protection system</a:t>
            </a:r>
          </a:p>
          <a:p>
            <a:endParaRPr lang="de-DE" dirty="0"/>
          </a:p>
          <a:p>
            <a:endParaRPr lang="de-DE" dirty="0"/>
          </a:p>
          <a:p>
            <a:endParaRPr lang="de-DE" dirty="0"/>
          </a:p>
          <a:p>
            <a:endParaRPr lang="de-DE" dirty="0"/>
          </a:p>
        </p:txBody>
      </p:sp>
      <p:sp>
        <p:nvSpPr>
          <p:cNvPr id="4" name="Foliennummernplatzhalter 3"/>
          <p:cNvSpPr>
            <a:spLocks noGrp="1"/>
          </p:cNvSpPr>
          <p:nvPr>
            <p:ph type="sldNum" sz="quarter" idx="10"/>
          </p:nvPr>
        </p:nvSpPr>
        <p:spPr/>
        <p:txBody>
          <a:bodyPr/>
          <a:lstStyle/>
          <a:p>
            <a:r>
              <a:rPr lang="de-DE">
                <a:latin typeface="Arial" pitchFamily="34" charset="0"/>
              </a:rPr>
              <a:t>Notizen </a:t>
            </a:r>
            <a:fld id="{AD141568-5488-4AC9-B82D-9F5CE1225E2A}" type="slidenum">
              <a:rPr lang="de-DE" smtClean="0">
                <a:latin typeface="Arial" pitchFamily="34" charset="0"/>
              </a:rPr>
              <a:pPr/>
              <a:t>32</a:t>
            </a:fld>
            <a:endParaRPr lang="de-DE" dirty="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52413" y="739775"/>
            <a:ext cx="6337300" cy="3563938"/>
          </a:xfrm>
        </p:spPr>
      </p:sp>
      <p:sp>
        <p:nvSpPr>
          <p:cNvPr id="3" name="Notizenplatzhalter 2"/>
          <p:cNvSpPr>
            <a:spLocks noGrp="1"/>
          </p:cNvSpPr>
          <p:nvPr>
            <p:ph type="body" idx="1"/>
          </p:nvPr>
        </p:nvSpPr>
        <p:spPr/>
        <p:txBody>
          <a:bodyPr>
            <a:normAutofit/>
          </a:bodyPr>
          <a:lstStyle/>
          <a:p>
            <a:pPr marL="228600" indent="-228600" algn="l">
              <a:buAutoNum type="arabicPeriod"/>
            </a:pPr>
            <a:r>
              <a:rPr lang="en-US" b="0" i="0" dirty="0">
                <a:solidFill>
                  <a:srgbClr val="202124"/>
                </a:solidFill>
                <a:effectLst/>
                <a:latin typeface="arial" panose="020B0604020202020204" pitchFamily="34" charset="0"/>
              </a:rPr>
              <a:t>The system was extensively tested in different stages. The first tests were carried out during the manufacture of the panels where the interfaces between the different components, protocols and logics implemented in the system were tested.</a:t>
            </a:r>
          </a:p>
          <a:p>
            <a:pPr marL="228600" indent="-228600" algn="l">
              <a:buAutoNum type="arabicPeriod"/>
            </a:pPr>
            <a:r>
              <a:rPr lang="en-US" dirty="0"/>
              <a:t>The solution was extensively tested in a real time digital simulator (RTDS) with different system contingencies where the operation of the WAP system was confirmed for the different events of the power system.</a:t>
            </a:r>
          </a:p>
          <a:p>
            <a:pPr algn="l"/>
            <a:r>
              <a:rPr lang="en-US" b="0" i="0" dirty="0">
                <a:solidFill>
                  <a:srgbClr val="202124"/>
                </a:solidFill>
                <a:effectLst/>
                <a:latin typeface="arial" panose="020B0604020202020204" pitchFamily="34" charset="0"/>
              </a:rPr>
              <a:t>3.   On site tests were carried out again and a real event was created to contrast the operation of the scheme. </a:t>
            </a:r>
          </a:p>
          <a:p>
            <a:pPr algn="l"/>
            <a:r>
              <a:rPr lang="en-US" b="0" i="0" dirty="0">
                <a:solidFill>
                  <a:srgbClr val="202124"/>
                </a:solidFill>
                <a:effectLst/>
                <a:latin typeface="arial" panose="020B0604020202020204" pitchFamily="34" charset="0"/>
              </a:rPr>
              <a:t>4. The operation of the schemes was confirmed with times less than 200 </a:t>
            </a:r>
            <a:r>
              <a:rPr lang="en-US" b="0" i="0" dirty="0" err="1">
                <a:solidFill>
                  <a:srgbClr val="202124"/>
                </a:solidFill>
                <a:effectLst/>
                <a:latin typeface="arial" panose="020B0604020202020204" pitchFamily="34" charset="0"/>
              </a:rPr>
              <a:t>ms.</a:t>
            </a:r>
            <a:r>
              <a:rPr lang="en-US" b="0" i="0" dirty="0">
                <a:solidFill>
                  <a:srgbClr val="202124"/>
                </a:solidFill>
                <a:effectLst/>
                <a:latin typeface="arial" panose="020B0604020202020204" pitchFamily="34" charset="0"/>
              </a:rPr>
              <a:t> The scheme has been operating successfully since February, </a:t>
            </a:r>
            <a:br>
              <a:rPr lang="en-US" b="0" i="0" dirty="0">
                <a:solidFill>
                  <a:srgbClr val="202124"/>
                </a:solidFill>
                <a:effectLst/>
                <a:latin typeface="arial" panose="020B0604020202020204" pitchFamily="34" charset="0"/>
              </a:rPr>
            </a:br>
            <a:endParaRPr lang="en-US" b="0" i="0" dirty="0">
              <a:solidFill>
                <a:srgbClr val="202124"/>
              </a:solidFill>
              <a:effectLst/>
              <a:latin typeface="arial" panose="020B0604020202020204" pitchFamily="34" charset="0"/>
            </a:endParaRPr>
          </a:p>
          <a:p>
            <a:br>
              <a:rPr lang="en-US" b="0" i="0" dirty="0">
                <a:solidFill>
                  <a:srgbClr val="202124"/>
                </a:solidFill>
                <a:effectLst/>
                <a:latin typeface="arial" panose="020B0604020202020204" pitchFamily="34" charset="0"/>
              </a:rPr>
            </a:br>
            <a:endParaRPr lang="de-DE" dirty="0"/>
          </a:p>
        </p:txBody>
      </p:sp>
      <p:sp>
        <p:nvSpPr>
          <p:cNvPr id="4" name="Foliennummernplatzhalter 3"/>
          <p:cNvSpPr>
            <a:spLocks noGrp="1"/>
          </p:cNvSpPr>
          <p:nvPr>
            <p:ph type="sldNum" sz="quarter" idx="10"/>
          </p:nvPr>
        </p:nvSpPr>
        <p:spPr/>
        <p:txBody>
          <a:bodyPr/>
          <a:lstStyle/>
          <a:p>
            <a:r>
              <a:rPr lang="de-DE">
                <a:latin typeface="Arial" pitchFamily="34" charset="0"/>
              </a:rPr>
              <a:t>Notizen </a:t>
            </a:r>
            <a:fld id="{AD141568-5488-4AC9-B82D-9F5CE1225E2A}" type="slidenum">
              <a:rPr lang="de-DE" smtClean="0">
                <a:latin typeface="Arial" pitchFamily="34" charset="0"/>
              </a:rPr>
              <a:pPr/>
              <a:t>33</a:t>
            </a:fld>
            <a:endParaRPr lang="de-DE" dirty="0">
              <a:latin typeface="Arial" pitchFamily="34" charset="0"/>
            </a:endParaRPr>
          </a:p>
        </p:txBody>
      </p:sp>
    </p:spTree>
    <p:extLst>
      <p:ext uri="{BB962C8B-B14F-4D97-AF65-F5344CB8AC3E}">
        <p14:creationId xmlns:p14="http://schemas.microsoft.com/office/powerpoint/2010/main" val="42302151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1.xml"/><Relationship Id="rId4" Type="http://schemas.openxmlformats.org/officeDocument/2006/relationships/image" Target="../media/image22.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7.jpe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3.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8.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customXml" Target="../../customXml/item5.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customXml" Target="../../customXml/item6.xml"/><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customXml" Target="../../customXml/item7.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1.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5.svg"/><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Deep Blue 80pt">
    <p:bg>
      <p:bgRef idx="1001">
        <a:schemeClr val="bg2"/>
      </p:bgRef>
    </p:bg>
    <p:spTree>
      <p:nvGrpSpPr>
        <p:cNvPr id="1" name=""/>
        <p:cNvGrpSpPr/>
        <p:nvPr/>
      </p:nvGrpSpPr>
      <p:grpSpPr>
        <a:xfrm>
          <a:off x="0" y="0"/>
          <a:ext cx="0" cy="0"/>
          <a:chOff x="0" y="0"/>
          <a:chExt cx="0" cy="0"/>
        </a:xfrm>
      </p:grpSpPr>
      <p:pic>
        <p:nvPicPr>
          <p:cNvPr id="6" name="Cognisphere" descr="A picture containing fireworks, star, table, sky&#10;&#10;Description automatically generated">
            <a:extLst>
              <a:ext uri="{FF2B5EF4-FFF2-40B4-BE49-F238E27FC236}">
                <a16:creationId xmlns:a16="http://schemas.microsoft.com/office/drawing/2014/main" id="{591CD5A4-BDEB-4734-8FA5-5C3B4A08A49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625059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picture light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9" name="Siemens Logo">
            <a:extLst>
              <a:ext uri="{FF2B5EF4-FFF2-40B4-BE49-F238E27FC236}">
                <a16:creationId xmlns:a16="http://schemas.microsoft.com/office/drawing/2014/main" id="{46D369A7-07BD-4B91-9E53-807AAAF0C30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91266537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picture light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9" name="Siemens Logo">
            <a:extLst>
              <a:ext uri="{FF2B5EF4-FFF2-40B4-BE49-F238E27FC236}">
                <a16:creationId xmlns:a16="http://schemas.microsoft.com/office/drawing/2014/main" id="{DC2D4109-C5C2-42BB-B5A0-2F6793388E2C}"/>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4848920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icture light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9" name="Siemens Logo">
            <a:extLst>
              <a:ext uri="{FF2B5EF4-FFF2-40B4-BE49-F238E27FC236}">
                <a16:creationId xmlns:a16="http://schemas.microsoft.com/office/drawing/2014/main" id="{298AE3DB-A74B-4AD6-A37C-FBCFB647B93F}"/>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19060479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picture Gradient 48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942360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picture Gradient 40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53037772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picture Gradient 36pt">
    <p:bg>
      <p:bgPr>
        <a:gradFill>
          <a:gsLst>
            <a:gs pos="52000">
              <a:schemeClr val="bg2"/>
            </a:gs>
            <a:gs pos="100000">
              <a:schemeClr val="accent1"/>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5282429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picture Gradient 90° 48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29832566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picture Gradient 90° 40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9736171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picture Gradient 90° 36pt">
    <p:bg>
      <p:bgPr>
        <a:gradFill>
          <a:gsLst>
            <a:gs pos="33000">
              <a:schemeClr val="bg2"/>
            </a:gs>
            <a:gs pos="100000">
              <a:schemeClr val="accent1"/>
            </a:gs>
          </a:gsLst>
          <a:lin ang="0" scaled="0"/>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line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7088937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picture Gradient Green 48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58991117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eep Blue 60pt">
    <p:bg>
      <p:bgRef idx="1001">
        <a:schemeClr val="bg2"/>
      </p:bgRef>
    </p:bg>
    <p:spTree>
      <p:nvGrpSpPr>
        <p:cNvPr id="1" name=""/>
        <p:cNvGrpSpPr/>
        <p:nvPr/>
      </p:nvGrpSpPr>
      <p:grpSpPr>
        <a:xfrm>
          <a:off x="0" y="0"/>
          <a:ext cx="0" cy="0"/>
          <a:chOff x="0" y="0"/>
          <a:chExt cx="0" cy="0"/>
        </a:xfrm>
      </p:grpSpPr>
      <p:pic>
        <p:nvPicPr>
          <p:cNvPr id="7" name="Cognisphere" descr="A close up of a light&#10;&#10;Description automatically generated">
            <a:extLst>
              <a:ext uri="{FF2B5EF4-FFF2-40B4-BE49-F238E27FC236}">
                <a16:creationId xmlns:a16="http://schemas.microsoft.com/office/drawing/2014/main" id="{F50DEF7C-D243-494F-A738-41FC9AF515A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M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7311794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picture Gradient Green 40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8019628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icture Gradient Green 36pt">
    <p:bg>
      <p:bgPr>
        <a:gradFill>
          <a:gsLst>
            <a:gs pos="52000">
              <a:schemeClr val="bg2"/>
            </a:gs>
            <a:gs pos="100000">
              <a:srgbClr val="00AF8E"/>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74164754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picture Gradient Blue 48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83567349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picture Gradient Blue 40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62222597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picture Gradient Blue 36pt">
    <p:bg>
      <p:bgPr>
        <a:gradFill>
          <a:gsLst>
            <a:gs pos="52000">
              <a:schemeClr val="bg2"/>
            </a:gs>
            <a:gs pos="100000">
              <a:schemeClr val="accent4"/>
            </a:gs>
          </a:gsLst>
          <a:lin ang="5400000" scaled="1"/>
        </a:gradFill>
        <a:effectLst/>
      </p:bgPr>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tx2"/>
          </a:solidFill>
        </p:spPr>
        <p:txBody>
          <a:bodyPr lIns="144000" tIns="108000" rIns="144000" bIns="108000"/>
          <a:lstStyle>
            <a:lvl1pPr marL="0" indent="0">
              <a:buNone/>
              <a:defRPr>
                <a:solidFill>
                  <a:schemeClr val="bg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6894869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title dark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399"/>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429905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pter title dark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2"/>
            <a:ext cx="9288000" cy="1622622"/>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29485912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pter title dark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121"/>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163221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title light 8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r>
              <a:rPr lang="en-US" dirty="0"/>
              <a:t>Subhead for headline size 80 </a:t>
            </a:r>
            <a:r>
              <a:rPr lang="en-US" dirty="0" err="1"/>
              <a:t>pt</a:t>
            </a:r>
            <a:endParaRPr lang="en-US" dirty="0"/>
          </a:p>
        </p:txBody>
      </p:sp>
      <p:sp>
        <p:nvSpPr>
          <p:cNvPr id="5" name="Footer Placeholder">
            <a:extLst>
              <a:ext uri="{FF2B5EF4-FFF2-40B4-BE49-F238E27FC236}">
                <a16:creationId xmlns:a16="http://schemas.microsoft.com/office/drawing/2014/main" id="{EDBCA456-A643-45C8-9383-5A06099EB621}"/>
              </a:ext>
            </a:extLst>
          </p:cNvPr>
          <p:cNvSpPr>
            <a:spLocks noGrp="1"/>
          </p:cNvSpPr>
          <p:nvPr>
            <p:ph type="ftr" sz="quarter" idx="10"/>
          </p:nvPr>
        </p:nvSpPr>
        <p:spPr>
          <a:xfrm>
            <a:off x="1059160" y="6310800"/>
            <a:ext cx="8640003" cy="547200"/>
          </a:xfrm>
        </p:spPr>
        <p:txBody>
          <a:bodyPr/>
          <a:lstStyle/>
          <a:p>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5B05DC85-FD3C-4245-83A1-F6197CB9E08F}"/>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4FC1DCA2-253A-4E87-91E4-D402488C8D78}"/>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14551110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title light 6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11376788" cy="2769989"/>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1"/>
            <a:ext cx="9288000" cy="1622623"/>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5" name="Footer Placeholder">
            <a:extLst>
              <a:ext uri="{FF2B5EF4-FFF2-40B4-BE49-F238E27FC236}">
                <a16:creationId xmlns:a16="http://schemas.microsoft.com/office/drawing/2014/main" id="{21031E7D-E514-484A-9CCD-52A9C2222261}"/>
              </a:ext>
            </a:extLst>
          </p:cNvPr>
          <p:cNvSpPr>
            <a:spLocks noGrp="1"/>
          </p:cNvSpPr>
          <p:nvPr>
            <p:ph type="ftr" sz="quarter" idx="10"/>
          </p:nvPr>
        </p:nvSpPr>
        <p:spPr>
          <a:xfrm>
            <a:off x="1059160" y="6310800"/>
            <a:ext cx="8640003" cy="547200"/>
          </a:xfrm>
        </p:spPr>
        <p:txBody>
          <a:bodyPr/>
          <a:lstStyle/>
          <a:p>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447F428C-5AA7-413C-A721-B7AADDF8B425}"/>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3543E2CC-A901-4194-A712-51CE520302B1}"/>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9439022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Deep Blue 40pt">
    <p:bg>
      <p:bgRef idx="1001">
        <a:schemeClr val="bg2"/>
      </p:bgRef>
    </p:bg>
    <p:spTree>
      <p:nvGrpSpPr>
        <p:cNvPr id="1" name=""/>
        <p:cNvGrpSpPr/>
        <p:nvPr/>
      </p:nvGrpSpPr>
      <p:grpSpPr>
        <a:xfrm>
          <a:off x="0" y="0"/>
          <a:ext cx="0" cy="0"/>
          <a:chOff x="0" y="0"/>
          <a:chExt cx="0" cy="0"/>
        </a:xfrm>
      </p:grpSpPr>
      <p:pic>
        <p:nvPicPr>
          <p:cNvPr id="7" name="Cognisphere" descr="A picture containing light, star&#10;&#10;Description automatically generated">
            <a:extLst>
              <a:ext uri="{FF2B5EF4-FFF2-40B4-BE49-F238E27FC236}">
                <a16:creationId xmlns:a16="http://schemas.microsoft.com/office/drawing/2014/main" id="{AA220E05-4C1E-4F58-BFC0-57C07A95F703}"/>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0249615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light 40pt">
    <p:bg>
      <p:bgRef idx="1001">
        <a:schemeClr val="bg2"/>
      </p:bgRef>
    </p:bg>
    <p:spTree>
      <p:nvGrpSpPr>
        <p:cNvPr id="1" name=""/>
        <p:cNvGrpSpPr/>
        <p:nvPr/>
      </p:nvGrpSpPr>
      <p:grpSpPr>
        <a:xfrm>
          <a:off x="0" y="0"/>
          <a:ext cx="0" cy="0"/>
          <a:chOff x="0" y="0"/>
          <a:chExt cx="0" cy="0"/>
        </a:xfrm>
      </p:grpSpPr>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399" y="1414463"/>
            <a:ext cx="11370437" cy="246221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5" name="Footer Placeholder">
            <a:extLst>
              <a:ext uri="{FF2B5EF4-FFF2-40B4-BE49-F238E27FC236}">
                <a16:creationId xmlns:a16="http://schemas.microsoft.com/office/drawing/2014/main" id="{1498F1A9-6241-4523-AFBC-C74F3AA4AC35}"/>
              </a:ext>
            </a:extLst>
          </p:cNvPr>
          <p:cNvSpPr>
            <a:spLocks noGrp="1"/>
          </p:cNvSpPr>
          <p:nvPr>
            <p:ph type="ftr" sz="quarter" idx="10"/>
          </p:nvPr>
        </p:nvSpPr>
        <p:spPr>
          <a:xfrm>
            <a:off x="1059160" y="6310800"/>
            <a:ext cx="8639240" cy="547200"/>
          </a:xfrm>
        </p:spPr>
        <p:txBody>
          <a:bodyPr/>
          <a:lstStyle/>
          <a:p>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267619FE-01EE-4013-B481-A8C505C5D26A}"/>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2A2349A4-4A97-42CC-AE59-7EDEE385EDFA}"/>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274400" y="6364800"/>
            <a:ext cx="1512000" cy="240408"/>
          </a:xfrm>
          <a:prstGeom prst="rect">
            <a:avLst/>
          </a:prstGeom>
        </p:spPr>
      </p:pic>
    </p:spTree>
    <p:extLst>
      <p:ext uri="{BB962C8B-B14F-4D97-AF65-F5344CB8AC3E}">
        <p14:creationId xmlns:p14="http://schemas.microsoft.com/office/powerpoint/2010/main" val="38680367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dex / Agenda">
    <p:spTree>
      <p:nvGrpSpPr>
        <p:cNvPr id="1" name=""/>
        <p:cNvGrpSpPr/>
        <p:nvPr/>
      </p:nvGrpSpPr>
      <p:grpSpPr>
        <a:xfrm>
          <a:off x="0" y="0"/>
          <a:ext cx="0" cy="0"/>
          <a:chOff x="0" y="0"/>
          <a:chExt cx="0" cy="0"/>
        </a:xfrm>
      </p:grpSpPr>
      <p:pic>
        <p:nvPicPr>
          <p:cNvPr id="8" name="Cognisphere" descr="A picture containing chart&#10;&#10;Description automatically generated">
            <a:extLst>
              <a:ext uri="{FF2B5EF4-FFF2-40B4-BE49-F238E27FC236}">
                <a16:creationId xmlns:a16="http://schemas.microsoft.com/office/drawing/2014/main" id="{FEC69F24-2876-47B9-A4B6-0ADE800ECDDB}"/>
              </a:ext>
            </a:extLst>
          </p:cNvPr>
          <p:cNvPicPr>
            <a:picLocks noChangeAspect="1"/>
          </p:cNvPicPr>
          <p:nvPr userDrawn="1"/>
        </p:nvPicPr>
        <p:blipFill rotWithShape="1">
          <a:blip r:embed="rId2" cstate="print">
            <a:alphaModFix amt="60000"/>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a:xfrm>
            <a:off x="410400" y="478800"/>
            <a:ext cx="5904675" cy="576000"/>
          </a:xfrm>
        </p:spPr>
        <p:txBody>
          <a:bodyPr/>
          <a:lstStyle/>
          <a:p>
            <a:r>
              <a:rPr lang="de-DE"/>
              <a:t>Mastertitelformat bearbeiten</a:t>
            </a:r>
            <a:endParaRPr lang="en-US" dirty="0"/>
          </a:p>
        </p:txBody>
      </p:sp>
      <p:sp>
        <p:nvSpPr>
          <p:cNvPr id="4" name="Copy">
            <a:extLst>
              <a:ext uri="{FF2B5EF4-FFF2-40B4-BE49-F238E27FC236}">
                <a16:creationId xmlns:a16="http://schemas.microsoft.com/office/drawing/2014/main" id="{0E701EC8-7FC1-42BE-915D-048C74A40E0C}"/>
              </a:ext>
            </a:extLst>
          </p:cNvPr>
          <p:cNvSpPr>
            <a:spLocks noGrp="1"/>
          </p:cNvSpPr>
          <p:nvPr>
            <p:ph type="body" sz="quarter" idx="12"/>
          </p:nvPr>
        </p:nvSpPr>
        <p:spPr>
          <a:xfrm>
            <a:off x="411163" y="1414463"/>
            <a:ext cx="5903912" cy="4751387"/>
          </a:xfrm>
        </p:spPr>
        <p:txBody>
          <a:bodyPr/>
          <a:lstStyle>
            <a:lvl1pPr>
              <a:spcAft>
                <a:spcPts val="900"/>
              </a:spcAft>
              <a:tabLst>
                <a:tab pos="5902325" algn="r"/>
              </a:tabLst>
              <a:defRPr/>
            </a:lvl1pPr>
            <a:lvl2pPr>
              <a:spcAft>
                <a:spcPts val="900"/>
              </a:spcAft>
              <a:tabLst>
                <a:tab pos="5902325" algn="r"/>
              </a:tabLst>
              <a:defRPr/>
            </a:lvl2pPr>
            <a:lvl3pPr marL="180000">
              <a:spcAft>
                <a:spcPts val="900"/>
              </a:spcAft>
              <a:tabLst>
                <a:tab pos="5902325" algn="r"/>
              </a:tabLst>
              <a:defRPr b="1"/>
            </a:lvl3pPr>
            <a:lvl4pPr marL="360000">
              <a:spcAft>
                <a:spcPts val="900"/>
              </a:spcAft>
              <a:tabLst>
                <a:tab pos="5902325" algn="r"/>
              </a:tabLst>
              <a:defRPr/>
            </a:lvl4pPr>
            <a:lvl5pPr marL="360000">
              <a:spcAft>
                <a:spcPts val="900"/>
              </a:spcAft>
              <a:tabLst>
                <a:tab pos="5902325" algn="r"/>
              </a:tabLst>
              <a:defRPr b="1"/>
            </a:lvl5pPr>
            <a:lvl6pPr marL="180000">
              <a:spcAft>
                <a:spcPts val="600"/>
              </a:spcAft>
              <a:tabLst>
                <a:tab pos="5902325" algn="r"/>
              </a:tabLst>
              <a:defRPr sz="1600"/>
            </a:lvl6pPr>
            <a:lvl7pPr marL="180000">
              <a:spcAft>
                <a:spcPts val="600"/>
              </a:spcAft>
              <a:tabLst>
                <a:tab pos="5902325" algn="r"/>
              </a:tabLst>
              <a:defRPr sz="1600" b="1"/>
            </a:lvl7pPr>
            <a:lvl8pPr marL="360000">
              <a:spcAft>
                <a:spcPts val="600"/>
              </a:spcAft>
              <a:tabLst>
                <a:tab pos="5902325" algn="r"/>
              </a:tabLst>
              <a:defRPr sz="1600"/>
            </a:lvl8pPr>
            <a:lvl9pPr marL="360000">
              <a:spcAft>
                <a:spcPts val="600"/>
              </a:spcAft>
              <a:tabLst>
                <a:tab pos="5902325" algn="r"/>
              </a:tabLst>
              <a:defRPr sz="1600" b="1"/>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643747429"/>
      </p:ext>
    </p:extLst>
  </p:cSld>
  <p:clrMapOvr>
    <a:masterClrMapping/>
  </p:clrMapOvr>
  <p:extLst>
    <p:ext uri="{DCECCB84-F9BA-43D5-87BE-67443E8EF086}">
      <p15:sldGuideLst xmlns:p15="http://schemas.microsoft.com/office/powerpoint/2012/main">
        <p15:guide id="1" pos="259">
          <p15:clr>
            <a:srgbClr val="65CEFF"/>
          </p15:clr>
        </p15:guide>
        <p15:guide id="5" pos="3978">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guide id="19" pos="4248">
          <p15:clr>
            <a:srgbClr val="65CE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f contents / Agenda">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67482363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de-DE"/>
              <a:t>Mastertitelformat bearbeiten</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43002918"/>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ree Content without logo">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de-DE"/>
              <a:t>Mastertitelformat bearbeiten</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2968626746"/>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large imag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1219200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Full size picture</a:t>
            </a:r>
          </a:p>
        </p:txBody>
      </p:sp>
      <p:sp>
        <p:nvSpPr>
          <p:cNvPr id="2" name="Title">
            <a:extLst>
              <a:ext uri="{FF2B5EF4-FFF2-40B4-BE49-F238E27FC236}">
                <a16:creationId xmlns:a16="http://schemas.microsoft.com/office/drawing/2014/main" id="{3F142F7C-7BE3-40CB-8C53-6F7533073558}"/>
              </a:ext>
            </a:extLst>
          </p:cNvPr>
          <p:cNvSpPr>
            <a:spLocks noGrp="1"/>
          </p:cNvSpPr>
          <p:nvPr>
            <p:ph type="title" hasCustomPrompt="1"/>
          </p:nvPr>
        </p:nvSpPr>
        <p:spPr>
          <a:xfrm>
            <a:off x="1022400" y="1054100"/>
            <a:ext cx="9252000" cy="1491868"/>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a:t>Unrestricted | © Siemens 2021 | Dr. Andreas Litzinger, José Malagon | SE DG EA | 2021-05-27</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009199822"/>
      </p:ext>
    </p:extLst>
  </p:cSld>
  <p:clrMapOvr>
    <a:masterClrMapping/>
  </p:clrMapOvr>
  <p:extLst>
    <p:ext uri="{DCECCB84-F9BA-43D5-87BE-67443E8EF086}">
      <p15:sldGuideLst xmlns:p15="http://schemas.microsoft.com/office/powerpoint/2012/main">
        <p15:guide id="1" pos="259" userDrawn="1">
          <p15:clr>
            <a:srgbClr val="65CEFF"/>
          </p15:clr>
        </p15:guide>
        <p15:guide id="9" pos="6472" userDrawn="1">
          <p15:clr>
            <a:srgbClr val="65CEFF"/>
          </p15:clr>
        </p15:guide>
        <p15:guide id="10" pos="7425" userDrawn="1">
          <p15:clr>
            <a:srgbClr val="65CEFF"/>
          </p15:clr>
        </p15:guide>
        <p15:guide id="12" orient="horz" pos="664"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ngle image (Text spotlight)">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1CAAD1C1-677B-4ED7-96BE-27B1141D53D5}"/>
              </a:ext>
            </a:extLst>
          </p:cNvPr>
          <p:cNvSpPr>
            <a:spLocks noGrp="1"/>
          </p:cNvSpPr>
          <p:nvPr>
            <p:ph type="pic" sz="quarter" idx="12" hasCustomPrompt="1"/>
          </p:nvPr>
        </p:nvSpPr>
        <p:spPr>
          <a:xfrm>
            <a:off x="0" y="1"/>
            <a:ext cx="7611160" cy="6167438"/>
          </a:xfrm>
          <a:solidFill>
            <a:schemeClr val="accent1"/>
          </a:solidFill>
        </p:spPr>
        <p:txBody>
          <a:bodyPr lIns="144000" tIns="108000" rIns="144000" bIns="108000"/>
          <a:lstStyle>
            <a:lvl1pPr marL="0" indent="0">
              <a:buNone/>
              <a:defRPr>
                <a:solidFill>
                  <a:schemeClr val="bg1"/>
                </a:solidFill>
              </a:defRPr>
            </a:lvl1pPr>
          </a:lstStyle>
          <a:p>
            <a:r>
              <a:rPr lang="en-US" noProof="0" dirty="0"/>
              <a:t>Picture</a:t>
            </a:r>
          </a:p>
        </p:txBody>
      </p:sp>
      <p:sp>
        <p:nvSpPr>
          <p:cNvPr id="2" name="Title">
            <a:extLst>
              <a:ext uri="{FF2B5EF4-FFF2-40B4-BE49-F238E27FC236}">
                <a16:creationId xmlns:a16="http://schemas.microsoft.com/office/drawing/2014/main" id="{AFFC798E-B633-4D30-A7C1-DC796BD8887A}"/>
              </a:ext>
            </a:extLst>
          </p:cNvPr>
          <p:cNvSpPr>
            <a:spLocks noGrp="1"/>
          </p:cNvSpPr>
          <p:nvPr>
            <p:ph type="title" hasCustomPrompt="1"/>
          </p:nvPr>
        </p:nvSpPr>
        <p:spPr>
          <a:xfrm>
            <a:off x="1022400" y="1054100"/>
            <a:ext cx="6156275" cy="2215991"/>
          </a:xfrm>
          <a:noFill/>
        </p:spPr>
        <p:txBody>
          <a:bodyPr wrap="square" rIns="0" bIns="0" anchor="t">
            <a:spAutoFit/>
          </a:bodyPr>
          <a:lstStyle>
            <a:lvl1pPr marL="0">
              <a:lnSpc>
                <a:spcPct val="100000"/>
              </a:lnSpc>
              <a:defRPr sz="4800">
                <a:solidFill>
                  <a:schemeClr val="tx1"/>
                </a:solidFill>
              </a:defRPr>
            </a:lvl1pPr>
          </a:lstStyle>
          <a:p>
            <a:r>
              <a:rPr lang="en-US" dirty="0"/>
              <a:t>Click to edit </a:t>
            </a:r>
            <a:br>
              <a:rPr lang="en-US" dirty="0"/>
            </a:br>
            <a:r>
              <a:rPr lang="en-US" dirty="0"/>
              <a:t>Master title style</a:t>
            </a:r>
            <a:br>
              <a:rPr lang="en-US" dirty="0"/>
            </a:br>
            <a:r>
              <a:rPr lang="en-US" dirty="0"/>
              <a:t>3 lines</a:t>
            </a:r>
          </a:p>
        </p:txBody>
      </p:sp>
      <p:sp>
        <p:nvSpPr>
          <p:cNvPr id="3" name="Copy">
            <a:extLst>
              <a:ext uri="{FF2B5EF4-FFF2-40B4-BE49-F238E27FC236}">
                <a16:creationId xmlns:a16="http://schemas.microsoft.com/office/drawing/2014/main" id="{6F965802-E517-4CC3-99D7-1DA8BF1FB020}"/>
              </a:ext>
            </a:extLst>
          </p:cNvPr>
          <p:cNvSpPr>
            <a:spLocks noGrp="1"/>
          </p:cNvSpPr>
          <p:nvPr>
            <p:ph type="body" sz="quarter" idx="18"/>
          </p:nvPr>
        </p:nvSpPr>
        <p:spPr>
          <a:xfrm>
            <a:off x="8042400" y="1054100"/>
            <a:ext cx="3744000" cy="5113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Footer Placeholder">
            <a:extLst>
              <a:ext uri="{FF2B5EF4-FFF2-40B4-BE49-F238E27FC236}">
                <a16:creationId xmlns:a16="http://schemas.microsoft.com/office/drawing/2014/main" id="{F80D0117-50BB-4A8D-AD28-794FFDA35404}"/>
              </a:ext>
            </a:extLst>
          </p:cNvPr>
          <p:cNvSpPr>
            <a:spLocks noGrp="1"/>
          </p:cNvSpPr>
          <p:nvPr>
            <p:ph type="ftr" sz="quarter" idx="16"/>
          </p:nvPr>
        </p:nvSpPr>
        <p:spPr/>
        <p:txBody>
          <a:bodyPr/>
          <a:lstStyle/>
          <a:p>
            <a:pPr>
              <a:lnSpc>
                <a:spcPct val="100000"/>
              </a:lnSpc>
            </a:pPr>
            <a:r>
              <a:rPr lang="en-US"/>
              <a:t>Unrestricted | © Siemens 2021 | Dr. Andreas Litzinger, José Malagon | SE DG EA | 2021-05-27</a:t>
            </a:r>
            <a:endParaRPr lang="en-US" dirty="0"/>
          </a:p>
        </p:txBody>
      </p:sp>
      <p:sp>
        <p:nvSpPr>
          <p:cNvPr id="5" name="Slide Number Placeholder">
            <a:extLst>
              <a:ext uri="{FF2B5EF4-FFF2-40B4-BE49-F238E27FC236}">
                <a16:creationId xmlns:a16="http://schemas.microsoft.com/office/drawing/2014/main" id="{79F3E7D3-5B15-444A-88AC-9161D47F12FD}"/>
              </a:ext>
            </a:extLst>
          </p:cNvPr>
          <p:cNvSpPr>
            <a:spLocks noGrp="1"/>
          </p:cNvSpPr>
          <p:nvPr>
            <p:ph type="sldNum" sz="quarter" idx="17"/>
          </p:nvPr>
        </p:nvSpPr>
        <p:spPr/>
        <p:txBody>
          <a:bodyPr/>
          <a:lstStyle/>
          <a:p>
            <a:r>
              <a:rPr lang="en-US"/>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30251D14-AF6A-4279-B0A9-69FD9519EA5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14279886"/>
      </p:ext>
    </p:extLst>
  </p:cSld>
  <p:clrMapOvr>
    <a:masterClrMapping/>
  </p:clrMapOvr>
  <p:extLst>
    <p:ext uri="{DCECCB84-F9BA-43D5-87BE-67443E8EF086}">
      <p15:sldGuideLst xmlns:p15="http://schemas.microsoft.com/office/powerpoint/2012/main">
        <p15:guide id="1" pos="259" userDrawn="1">
          <p15:clr>
            <a:srgbClr val="65CEFF"/>
          </p15:clr>
        </p15:guide>
        <p15:guide id="2" pos="4522" userDrawn="1">
          <p15:clr>
            <a:srgbClr val="65CEFF"/>
          </p15:clr>
        </p15:guide>
        <p15:guide id="3" pos="4794" userDrawn="1">
          <p15:clr>
            <a:srgbClr val="65CEFF"/>
          </p15:clr>
        </p15:guide>
        <p15:guide id="4" pos="5066" userDrawn="1">
          <p15:clr>
            <a:srgbClr val="65CEFF"/>
          </p15:clr>
        </p15:guide>
        <p15:guide id="5" pos="6472" userDrawn="1">
          <p15:clr>
            <a:srgbClr val="65CEFF"/>
          </p15:clr>
        </p15:guide>
        <p15:guide id="6" pos="7425" userDrawn="1">
          <p15:clr>
            <a:srgbClr val="65CEFF"/>
          </p15:clr>
        </p15:guide>
        <p15:guide id="7" orient="horz" pos="302" userDrawn="1">
          <p15:clr>
            <a:srgbClr val="65CEFF"/>
          </p15:clr>
        </p15:guide>
        <p15:guide id="8" orient="horz" pos="664" userDrawn="1">
          <p15:clr>
            <a:srgbClr val="65CEFF"/>
          </p15:clr>
        </p15:guide>
        <p15:guide id="9" orient="horz" pos="891" userDrawn="1">
          <p15:clr>
            <a:srgbClr val="65CEFF"/>
          </p15:clr>
        </p15:guide>
        <p15:guide id="10" orient="horz" pos="3658" userDrawn="1">
          <p15:clr>
            <a:srgbClr val="65CEFF"/>
          </p15:clr>
        </p15:guide>
        <p15:guide id="11" orient="horz" pos="3885" userDrawn="1">
          <p15:clr>
            <a:srgbClr val="65CEFF"/>
          </p15:clr>
        </p15:guide>
        <p15:guide id="12" orient="horz" pos="4157" userDrawn="1">
          <p15:clr>
            <a:srgbClr val="65CE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 bleed color Deep Blue (with key visual)">
    <p:bg>
      <p:bgRef idx="1001">
        <a:schemeClr val="bg2"/>
      </p:bgRef>
    </p:bg>
    <p:spTree>
      <p:nvGrpSpPr>
        <p:cNvPr id="1" name=""/>
        <p:cNvGrpSpPr/>
        <p:nvPr/>
      </p:nvGrpSpPr>
      <p:grpSpPr>
        <a:xfrm>
          <a:off x="0" y="0"/>
          <a:ext cx="0" cy="0"/>
          <a:chOff x="0" y="0"/>
          <a:chExt cx="0" cy="0"/>
        </a:xfrm>
      </p:grpSpPr>
      <p:pic>
        <p:nvPicPr>
          <p:cNvPr id="4" name="Cognisphere" descr="A picture containing fish, monitor, keyboard, computer&#10;&#10;Description automatically generated">
            <a:extLst>
              <a:ext uri="{FF2B5EF4-FFF2-40B4-BE49-F238E27FC236}">
                <a16:creationId xmlns:a16="http://schemas.microsoft.com/office/drawing/2014/main" id="{AE83F1C5-95B7-47C3-B837-8191D1E3972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51049182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ull bleed color Deep Blue">
    <p:bg>
      <p:bgRef idx="1001">
        <a:schemeClr val="bg2"/>
      </p:bgRef>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sp>
        <p:nvSpPr>
          <p:cNvPr id="5" name="Footer Placeholder">
            <a:extLst>
              <a:ext uri="{FF2B5EF4-FFF2-40B4-BE49-F238E27FC236}">
                <a16:creationId xmlns:a16="http://schemas.microsoft.com/office/drawing/2014/main" id="{16495290-0795-4AB1-8AEA-2BB786783622}"/>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E8FC1C65-873A-4B8F-BB57-51EEBC35A1A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00453451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4"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ull bleed color Gradient (with key visual)">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4" name="Cognisphere" descr="A picture containing sky, water, star&#10;&#10;Description automatically generated">
            <a:extLst>
              <a:ext uri="{FF2B5EF4-FFF2-40B4-BE49-F238E27FC236}">
                <a16:creationId xmlns:a16="http://schemas.microsoft.com/office/drawing/2014/main" id="{E2F7C1AE-8376-445B-98CD-DBE6E96E387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333381269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3">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Gradient DB–Petrol 8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7" name="Cognisphere" descr="Background pattern&#10;&#10;Description automatically generated">
            <a:extLst>
              <a:ext uri="{FF2B5EF4-FFF2-40B4-BE49-F238E27FC236}">
                <a16:creationId xmlns:a16="http://schemas.microsoft.com/office/drawing/2014/main" id="{70837433-2C09-4518-AF0D-697A97CAC3A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700"/>
            </a:stretch>
          </a:blipFill>
        </p:spPr>
        <p:txBody>
          <a:bodyPr rIns="0" bIns="0" anchor="t" anchorCtr="0">
            <a:spAutoFit/>
          </a:bodyPr>
          <a:lstStyle>
            <a:lvl1pPr marL="540000">
              <a:lnSpc>
                <a:spcPct val="100000"/>
              </a:lnSpc>
              <a:defRPr sz="8000">
                <a:solidFill>
                  <a:schemeClr val="tx1"/>
                </a:solidFill>
              </a:defRPr>
            </a:lvl1pPr>
          </a:lstStyle>
          <a:p>
            <a:r>
              <a:rPr lang="en-US" dirty="0"/>
              <a:t>Click to edit Master title style 8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7"/>
            <a:ext cx="9288000" cy="1930398"/>
          </a:xfrm>
          <a:prstGeom prst="rect">
            <a:avLst/>
          </a:prstGeom>
        </p:spPr>
        <p:txBody>
          <a:bodyPr lIns="0" tIns="349200">
            <a:noAutofit/>
          </a:bodyPr>
          <a:lstStyle>
            <a:lvl1pPr marL="0" indent="0" algn="l">
              <a:spcAft>
                <a:spcPts val="300"/>
              </a:spcAft>
              <a:buNone/>
              <a:defRPr sz="32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8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281359146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ull bleed color Gradien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sp>
        <p:nvSpPr>
          <p:cNvPr id="5" name="Footer Placeholder">
            <a:extLst>
              <a:ext uri="{FF2B5EF4-FFF2-40B4-BE49-F238E27FC236}">
                <a16:creationId xmlns:a16="http://schemas.microsoft.com/office/drawing/2014/main" id="{E4BECE54-DDA8-4D2C-8A02-4C8E3E1585E1}"/>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07B7E75B-80B4-49F8-AA70-A41C9D89685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863976F1-B9C2-4217-A36A-7F1DCFF6EE2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10608322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3705" userDrawn="1">
          <p15:clr>
            <a:srgbClr val="65CEFF"/>
          </p15:clr>
        </p15:guide>
        <p15:guide id="5" pos="3978" userDrawn="1">
          <p15:clr>
            <a:srgbClr val="65CEFF"/>
          </p15:clr>
        </p15:guide>
        <p15:guide id="7" pos="4975" userDrawn="1">
          <p15:clr>
            <a:srgbClr val="65CEFF"/>
          </p15:clr>
        </p15:guide>
        <p15:guide id="8" pos="5157" userDrawn="1">
          <p15:clr>
            <a:srgbClr val="65CEFF"/>
          </p15:clr>
        </p15:guide>
        <p15:guide id="9" pos="6472" userDrawn="1">
          <p15:clr>
            <a:srgbClr val="65CEFF"/>
          </p15:clr>
        </p15:guide>
        <p15:guide id="10" pos="7425" userDrawn="1">
          <p15:clr>
            <a:srgbClr val="65CEFF"/>
          </p15:clr>
        </p15:guide>
        <p15:guide id="11" orient="horz" pos="302" userDrawn="1">
          <p15:clr>
            <a:srgbClr val="65CEFF"/>
          </p15:clr>
        </p15:guide>
        <p15:guide id="12" orient="horz" pos="663" userDrawn="1">
          <p15:clr>
            <a:srgbClr val="65CEFF"/>
          </p15:clr>
        </p15:guide>
        <p15:guide id="13" orient="horz" pos="891" userDrawn="1">
          <p15:clr>
            <a:srgbClr val="65CEFF"/>
          </p15:clr>
        </p15:guide>
        <p15:guide id="14" orient="horz" pos="2206" userDrawn="1">
          <p15:clr>
            <a:srgbClr val="65CEFF"/>
          </p15:clr>
        </p15:guide>
        <p15:guide id="15" orient="horz" pos="2343" userDrawn="1">
          <p15:clr>
            <a:srgbClr val="65CEFF"/>
          </p15:clr>
        </p15:guide>
        <p15:guide id="16" orient="horz" pos="3658" userDrawn="1">
          <p15:clr>
            <a:srgbClr val="65CEFF"/>
          </p15:clr>
        </p15:guide>
        <p15:guide id="17" orient="horz" pos="3885" userDrawn="1">
          <p15:clr>
            <a:srgbClr val="65CEFF"/>
          </p15:clr>
        </p15:guide>
        <p15:guide id="18" orient="horz" pos="4157" userDrawn="1">
          <p15:clr>
            <a:srgbClr val="65CE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object (small)">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de-DE"/>
              <a:t>Mastertitelformat bearbeiten</a:t>
            </a:r>
            <a:endParaRPr lang="en-US"/>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7199313"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ooter Placeholder">
            <a:extLst>
              <a:ext uri="{FF2B5EF4-FFF2-40B4-BE49-F238E27FC236}">
                <a16:creationId xmlns:a16="http://schemas.microsoft.com/office/drawing/2014/main" id="{E519D384-FA09-4D60-95A8-589F157A93F4}"/>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7B1666FD-2258-443A-846C-6C7533C61D5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8" name="Siemens Logo">
            <a:extLst>
              <a:ext uri="{FF2B5EF4-FFF2-40B4-BE49-F238E27FC236}">
                <a16:creationId xmlns:a16="http://schemas.microsoft.com/office/drawing/2014/main" id="{91EB517C-C8FD-4E2E-B744-DB952E96B47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842942607"/>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6472" userDrawn="1">
          <p15:clr>
            <a:srgbClr val="65CEFF"/>
          </p15:clr>
        </p15:guide>
        <p15:guide id="4" pos="7425" userDrawn="1">
          <p15:clr>
            <a:srgbClr val="65CEFF"/>
          </p15:clr>
        </p15:guide>
        <p15:guide id="5" orient="horz" pos="302" userDrawn="1">
          <p15:clr>
            <a:srgbClr val="65CEFF"/>
          </p15:clr>
        </p15:guide>
        <p15:guide id="6" orient="horz" pos="664" userDrawn="1">
          <p15:clr>
            <a:srgbClr val="65CEFF"/>
          </p15:clr>
        </p15:guide>
        <p15:guide id="7" orient="horz" pos="891"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object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p>
            <a:r>
              <a:rPr lang="de-DE"/>
              <a:t>Mastertitelformat bearbeiten</a:t>
            </a:r>
            <a:endParaRPr lang="en-US"/>
          </a:p>
        </p:txBody>
      </p:sp>
      <p:sp>
        <p:nvSpPr>
          <p:cNvPr id="3" name="Copy">
            <a:extLst>
              <a:ext uri="{FF2B5EF4-FFF2-40B4-BE49-F238E27FC236}">
                <a16:creationId xmlns:a16="http://schemas.microsoft.com/office/drawing/2014/main" id="{9CE7E2D8-94E8-4FE6-93A5-924CA3EC5315}"/>
              </a:ext>
            </a:extLst>
          </p:cNvPr>
          <p:cNvSpPr>
            <a:spLocks noGrp="1"/>
          </p:cNvSpPr>
          <p:nvPr>
            <p:ph idx="1"/>
          </p:nvPr>
        </p:nvSpPr>
        <p:spPr>
          <a:xfrm>
            <a:off x="411162" y="1414800"/>
            <a:ext cx="11376026"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ooter Placeholder">
            <a:extLst>
              <a:ext uri="{FF2B5EF4-FFF2-40B4-BE49-F238E27FC236}">
                <a16:creationId xmlns:a16="http://schemas.microsoft.com/office/drawing/2014/main" id="{7367E6C0-4D2C-4C5F-86D8-A2CFF0EB3D6A}"/>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6F746812-65E3-4C09-AC38-B0CFE93C8A95}"/>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907654598"/>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de-DE"/>
              <a:t>Mastertitelformat bearbeiten</a:t>
            </a:r>
            <a:endParaRPr lang="en-US"/>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Footer Placeholder">
            <a:extLst>
              <a:ext uri="{FF2B5EF4-FFF2-40B4-BE49-F238E27FC236}">
                <a16:creationId xmlns:a16="http://schemas.microsoft.com/office/drawing/2014/main" id="{33A503D1-D234-4258-9A03-D858B10BA46D}"/>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7" name="Slide Number Placeholder">
            <a:extLst>
              <a:ext uri="{FF2B5EF4-FFF2-40B4-BE49-F238E27FC236}">
                <a16:creationId xmlns:a16="http://schemas.microsoft.com/office/drawing/2014/main" id="{21AA656B-0BAF-4B75-90BE-93CAC5946C0B}"/>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951439580"/>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de-DE"/>
              <a:t>Mastertitelformat bearbeiten</a:t>
            </a:r>
            <a:endParaRPr lang="en-US"/>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3600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py 2">
            <a:extLst>
              <a:ext uri="{FF2B5EF4-FFF2-40B4-BE49-F238E27FC236}">
                <a16:creationId xmlns:a16="http://schemas.microsoft.com/office/drawing/2014/main" id="{BF3FF41E-3844-4153-B955-A1F3E9EC1D30}"/>
              </a:ext>
            </a:extLst>
          </p:cNvPr>
          <p:cNvSpPr>
            <a:spLocks noGrp="1"/>
          </p:cNvSpPr>
          <p:nvPr>
            <p:ph sz="half" idx="2"/>
          </p:nvPr>
        </p:nvSpPr>
        <p:spPr>
          <a:xfrm>
            <a:off x="4298400" y="1414800"/>
            <a:ext cx="3600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Copy 3">
            <a:extLst>
              <a:ext uri="{FF2B5EF4-FFF2-40B4-BE49-F238E27FC236}">
                <a16:creationId xmlns:a16="http://schemas.microsoft.com/office/drawing/2014/main" id="{F020B491-E63A-4FB5-94ED-2BC31EB35C33}"/>
              </a:ext>
            </a:extLst>
          </p:cNvPr>
          <p:cNvSpPr>
            <a:spLocks noGrp="1"/>
          </p:cNvSpPr>
          <p:nvPr>
            <p:ph sz="half" idx="12"/>
          </p:nvPr>
        </p:nvSpPr>
        <p:spPr>
          <a:xfrm>
            <a:off x="8186400" y="1414800"/>
            <a:ext cx="3600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Footer Placeholder">
            <a:extLst>
              <a:ext uri="{FF2B5EF4-FFF2-40B4-BE49-F238E27FC236}">
                <a16:creationId xmlns:a16="http://schemas.microsoft.com/office/drawing/2014/main" id="{E613FA68-C74A-4621-9563-250388EBCC8B}"/>
              </a:ext>
            </a:extLst>
          </p:cNvPr>
          <p:cNvSpPr>
            <a:spLocks noGrp="1"/>
          </p:cNvSpPr>
          <p:nvPr>
            <p:ph type="ftr" sz="quarter" idx="13"/>
          </p:nvPr>
        </p:nvSpPr>
        <p:spPr/>
        <p:txBody>
          <a:bodyPr/>
          <a:lstStyle/>
          <a:p>
            <a:pPr>
              <a:lnSpc>
                <a:spcPct val="100000"/>
              </a:lnSpc>
            </a:pPr>
            <a:r>
              <a:rPr lang="en-US"/>
              <a:t>Unrestricted | © Siemens 2021 | Dr. Andreas Litzinger, José Malagon | SE DG EA | 2021-05-27</a:t>
            </a:r>
            <a:endParaRPr lang="en-US" dirty="0"/>
          </a:p>
        </p:txBody>
      </p:sp>
      <p:sp>
        <p:nvSpPr>
          <p:cNvPr id="7" name="Slide Number Placeholder">
            <a:extLst>
              <a:ext uri="{FF2B5EF4-FFF2-40B4-BE49-F238E27FC236}">
                <a16:creationId xmlns:a16="http://schemas.microsoft.com/office/drawing/2014/main" id="{F9117D9C-D502-472C-A3C8-FA9087A2EDCE}"/>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48910675"/>
      </p:ext>
    </p:extLst>
  </p:cSld>
  <p:clrMapOvr>
    <a:masterClrMapping/>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our objects">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p:txBody>
          <a:bodyPr/>
          <a:lstStyle/>
          <a:p>
            <a:r>
              <a:rPr lang="de-DE"/>
              <a:t>Mastertitelformat bearbeiten</a:t>
            </a:r>
            <a:endParaRPr lang="en-US"/>
          </a:p>
        </p:txBody>
      </p:sp>
      <p:sp>
        <p:nvSpPr>
          <p:cNvPr id="3" name="Copy 1">
            <a:extLst>
              <a:ext uri="{FF2B5EF4-FFF2-40B4-BE49-F238E27FC236}">
                <a16:creationId xmlns:a16="http://schemas.microsoft.com/office/drawing/2014/main" id="{A8B1D58A-DC84-4573-957E-9BEA9AAB308E}"/>
              </a:ext>
            </a:extLst>
          </p:cNvPr>
          <p:cNvSpPr>
            <a:spLocks noGrp="1"/>
          </p:cNvSpPr>
          <p:nvPr>
            <p:ph sz="half" idx="1"/>
          </p:nvPr>
        </p:nvSpPr>
        <p:spPr>
          <a:xfrm>
            <a:off x="411162" y="1414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Copy 2">
            <a:extLst>
              <a:ext uri="{FF2B5EF4-FFF2-40B4-BE49-F238E27FC236}">
                <a16:creationId xmlns:a16="http://schemas.microsoft.com/office/drawing/2014/main" id="{2871E7F7-6A93-4406-8617-80D9CFF396A8}"/>
              </a:ext>
            </a:extLst>
          </p:cNvPr>
          <p:cNvSpPr>
            <a:spLocks noGrp="1"/>
          </p:cNvSpPr>
          <p:nvPr>
            <p:ph sz="half" idx="12"/>
          </p:nvPr>
        </p:nvSpPr>
        <p:spPr>
          <a:xfrm>
            <a:off x="411162" y="3718800"/>
            <a:ext cx="5470526"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py 3">
            <a:extLst>
              <a:ext uri="{FF2B5EF4-FFF2-40B4-BE49-F238E27FC236}">
                <a16:creationId xmlns:a16="http://schemas.microsoft.com/office/drawing/2014/main" id="{BF3FF41E-3844-4153-B955-A1F3E9EC1D30}"/>
              </a:ext>
            </a:extLst>
          </p:cNvPr>
          <p:cNvSpPr>
            <a:spLocks noGrp="1"/>
          </p:cNvSpPr>
          <p:nvPr>
            <p:ph sz="half" idx="2"/>
          </p:nvPr>
        </p:nvSpPr>
        <p:spPr>
          <a:xfrm>
            <a:off x="6315075" y="1414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Copy 4">
            <a:extLst>
              <a:ext uri="{FF2B5EF4-FFF2-40B4-BE49-F238E27FC236}">
                <a16:creationId xmlns:a16="http://schemas.microsoft.com/office/drawing/2014/main" id="{7AD3B9B1-3210-46C8-8222-A0E11719EB88}"/>
              </a:ext>
            </a:extLst>
          </p:cNvPr>
          <p:cNvSpPr>
            <a:spLocks noGrp="1"/>
          </p:cNvSpPr>
          <p:nvPr>
            <p:ph sz="half" idx="13"/>
          </p:nvPr>
        </p:nvSpPr>
        <p:spPr>
          <a:xfrm>
            <a:off x="6315075" y="3718800"/>
            <a:ext cx="5465763" cy="2088000"/>
          </a:xfrm>
          <a:prstGeom prst="rect">
            <a:avLst/>
          </a:prstGeom>
        </p:spPr>
        <p:txBody>
          <a:bodyPr>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Footer Placeholder">
            <a:extLst>
              <a:ext uri="{FF2B5EF4-FFF2-40B4-BE49-F238E27FC236}">
                <a16:creationId xmlns:a16="http://schemas.microsoft.com/office/drawing/2014/main" id="{1DF6F0C8-00D9-4034-B3CC-D376702BE1C8}"/>
              </a:ext>
            </a:extLst>
          </p:cNvPr>
          <p:cNvSpPr>
            <a:spLocks noGrp="1"/>
          </p:cNvSpPr>
          <p:nvPr>
            <p:ph type="ftr" sz="quarter" idx="14"/>
          </p:nvPr>
        </p:nvSpPr>
        <p:spPr/>
        <p:txBody>
          <a:bodyPr/>
          <a:lstStyle/>
          <a:p>
            <a:pPr>
              <a:lnSpc>
                <a:spcPct val="100000"/>
              </a:lnSpc>
            </a:pPr>
            <a:r>
              <a:rPr lang="en-US"/>
              <a:t>Unrestricted | © Siemens 2021 | Dr. Andreas Litzinger, José Malagon | SE DG EA | 2021-05-27</a:t>
            </a:r>
            <a:endParaRPr lang="en-US" dirty="0"/>
          </a:p>
        </p:txBody>
      </p:sp>
      <p:sp>
        <p:nvSpPr>
          <p:cNvPr id="7" name="Slide Number Placeholder">
            <a:extLst>
              <a:ext uri="{FF2B5EF4-FFF2-40B4-BE49-F238E27FC236}">
                <a16:creationId xmlns:a16="http://schemas.microsoft.com/office/drawing/2014/main" id="{53D55964-F7E8-48E3-84D5-FE4FE835C563}"/>
              </a:ext>
            </a:extLst>
          </p:cNvPr>
          <p:cNvSpPr>
            <a:spLocks noGrp="1"/>
          </p:cNvSpPr>
          <p:nvPr>
            <p:ph type="sldNum" sz="quarter" idx="15"/>
          </p:nvPr>
        </p:nvSpPr>
        <p:spPr/>
        <p:txBody>
          <a:bodyPr/>
          <a:lstStyle/>
          <a:p>
            <a:r>
              <a:rPr lang="en-US"/>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6FCACBED-2537-4F3E-8D2C-E6014100536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503860774"/>
      </p:ext>
    </p:extLst>
  </p:cSld>
  <p:clrMapOvr>
    <a:masterClrMapping/>
  </p:clrMapOvr>
  <p:extLst>
    <p:ext uri="{DCECCB84-F9BA-43D5-87BE-67443E8EF086}">
      <p15:sldGuideLst xmlns:p15="http://schemas.microsoft.com/office/powerpoint/2012/main">
        <p15:guide id="1" pos="259" userDrawn="1">
          <p15:clr>
            <a:srgbClr val="65CEFF"/>
          </p15:clr>
        </p15:guide>
        <p15:guide id="2" pos="3705" userDrawn="1">
          <p15:clr>
            <a:srgbClr val="65CEFF"/>
          </p15:clr>
        </p15:guide>
        <p15:guide id="3" pos="3978"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2206" userDrawn="1">
          <p15:clr>
            <a:srgbClr val="65CEFF"/>
          </p15:clr>
        </p15:guide>
        <p15:guide id="10" orient="horz" pos="2343"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s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568133C-15D2-4F33-802E-DF15E7891829}"/>
              </a:ext>
            </a:extLst>
          </p:cNvPr>
          <p:cNvSpPr>
            <a:spLocks noGrp="1"/>
          </p:cNvSpPr>
          <p:nvPr>
            <p:ph type="title"/>
          </p:nvPr>
        </p:nvSpPr>
        <p:spPr/>
        <p:txBody>
          <a:bodyPr/>
          <a:lstStyle/>
          <a:p>
            <a:r>
              <a:rPr lang="de-DE"/>
              <a:t>Mastertitelformat bearbeiten</a:t>
            </a:r>
            <a:endParaRPr lang="en-US"/>
          </a:p>
        </p:txBody>
      </p:sp>
      <p:sp>
        <p:nvSpPr>
          <p:cNvPr id="7" name="Picture Placeholder">
            <a:extLst>
              <a:ext uri="{FF2B5EF4-FFF2-40B4-BE49-F238E27FC236}">
                <a16:creationId xmlns:a16="http://schemas.microsoft.com/office/drawing/2014/main" id="{90866A30-329B-420B-B42B-2C69E0DE6D9B}"/>
              </a:ext>
            </a:extLst>
          </p:cNvPr>
          <p:cNvSpPr>
            <a:spLocks noGrp="1"/>
          </p:cNvSpPr>
          <p:nvPr>
            <p:ph type="pic" sz="quarter" idx="12"/>
          </p:nvPr>
        </p:nvSpPr>
        <p:spPr>
          <a:xfrm>
            <a:off x="411161" y="1414800"/>
            <a:ext cx="7199313" cy="4752000"/>
          </a:xfrm>
          <a:solidFill>
            <a:schemeClr val="bg2"/>
          </a:solidFill>
        </p:spPr>
        <p:txBody>
          <a:bodyPr>
            <a:noAutofit/>
          </a:bodyPr>
          <a:lstStyle/>
          <a:p>
            <a:r>
              <a:rPr lang="de-DE"/>
              <a:t>Bild durch Klicken auf Symbol hinzufügen</a:t>
            </a:r>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3" name="Footer Placeholder">
            <a:extLst>
              <a:ext uri="{FF2B5EF4-FFF2-40B4-BE49-F238E27FC236}">
                <a16:creationId xmlns:a16="http://schemas.microsoft.com/office/drawing/2014/main" id="{33756E69-CA2F-47EC-9D32-CB09C4CD83F1}"/>
              </a:ext>
            </a:extLst>
          </p:cNvPr>
          <p:cNvSpPr>
            <a:spLocks noGrp="1"/>
          </p:cNvSpPr>
          <p:nvPr>
            <p:ph type="ftr" sz="quarter" idx="13"/>
          </p:nvPr>
        </p:nvSpPr>
        <p:spPr/>
        <p:txBody>
          <a:bodyPr/>
          <a:lstStyle/>
          <a:p>
            <a:pPr>
              <a:lnSpc>
                <a:spcPct val="100000"/>
              </a:lnSpc>
            </a:pPr>
            <a:r>
              <a:rPr lang="en-US"/>
              <a:t>Unrestricted | © Siemens 2021 | Dr. Andreas Litzinger, José Malagon | SE DG EA | 2021-05-27</a:t>
            </a:r>
            <a:endParaRPr lang="en-US" dirty="0"/>
          </a:p>
        </p:txBody>
      </p:sp>
      <p:sp>
        <p:nvSpPr>
          <p:cNvPr id="5" name="Slide Number Placeholder">
            <a:extLst>
              <a:ext uri="{FF2B5EF4-FFF2-40B4-BE49-F238E27FC236}">
                <a16:creationId xmlns:a16="http://schemas.microsoft.com/office/drawing/2014/main" id="{95022CCB-0484-488B-8637-222C3919B0F7}"/>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F468BE17-5D03-45C2-9D37-CF354AAA9589}"/>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408848882"/>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s without logo (Spotligh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10C7B869-3095-4D4F-B832-8B6077991AA5}"/>
              </a:ext>
            </a:extLst>
          </p:cNvPr>
          <p:cNvSpPr>
            <a:spLocks noGrp="1"/>
          </p:cNvSpPr>
          <p:nvPr>
            <p:ph type="title"/>
          </p:nvPr>
        </p:nvSpPr>
        <p:spPr/>
        <p:txBody>
          <a:bodyPr/>
          <a:lstStyle/>
          <a:p>
            <a:r>
              <a:rPr lang="de-DE"/>
              <a:t>Mastertitelformat bearbeiten</a:t>
            </a:r>
            <a:endParaRPr lang="en-US"/>
          </a:p>
        </p:txBody>
      </p:sp>
      <p:sp>
        <p:nvSpPr>
          <p:cNvPr id="9" name="Picture Placeholder">
            <a:extLst>
              <a:ext uri="{FF2B5EF4-FFF2-40B4-BE49-F238E27FC236}">
                <a16:creationId xmlns:a16="http://schemas.microsoft.com/office/drawing/2014/main" id="{299C05E6-AE55-4C36-8543-1DA3751542EB}"/>
              </a:ext>
            </a:extLst>
          </p:cNvPr>
          <p:cNvSpPr>
            <a:spLocks noGrp="1"/>
          </p:cNvSpPr>
          <p:nvPr>
            <p:ph type="pic" sz="quarter" idx="12"/>
          </p:nvPr>
        </p:nvSpPr>
        <p:spPr>
          <a:xfrm>
            <a:off x="411163" y="1414800"/>
            <a:ext cx="7199311" cy="4752000"/>
          </a:xfrm>
          <a:solidFill>
            <a:schemeClr val="bg2"/>
          </a:solidFill>
        </p:spPr>
        <p:txBody>
          <a:bodyPr/>
          <a:lstStyle/>
          <a:p>
            <a:r>
              <a:rPr lang="de-DE"/>
              <a:t>Bild durch Klicken auf Symbol hinzufügen</a:t>
            </a:r>
            <a:endParaRPr lang="en-US" dirty="0"/>
          </a:p>
        </p:txBody>
      </p:sp>
      <p:sp>
        <p:nvSpPr>
          <p:cNvPr id="4" name="Copy">
            <a:extLst>
              <a:ext uri="{FF2B5EF4-FFF2-40B4-BE49-F238E27FC236}">
                <a16:creationId xmlns:a16="http://schemas.microsoft.com/office/drawing/2014/main" id="{BF3FF41E-3844-4153-B955-A1F3E9EC1D30}"/>
              </a:ext>
            </a:extLst>
          </p:cNvPr>
          <p:cNvSpPr>
            <a:spLocks noGrp="1"/>
          </p:cNvSpPr>
          <p:nvPr>
            <p:ph sz="half" idx="2"/>
          </p:nvPr>
        </p:nvSpPr>
        <p:spPr>
          <a:xfrm>
            <a:off x="8043189" y="1414800"/>
            <a:ext cx="3744000" cy="4752000"/>
          </a:xfrm>
          <a:prstGeom prst="rect">
            <a:avLst/>
          </a:prstGeom>
        </p:spPr>
        <p:txBody>
          <a:bodyPr>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ooter Placeholder">
            <a:extLst>
              <a:ext uri="{FF2B5EF4-FFF2-40B4-BE49-F238E27FC236}">
                <a16:creationId xmlns:a16="http://schemas.microsoft.com/office/drawing/2014/main" id="{2BA12055-C879-45E9-A105-2B26D233C9D4}"/>
              </a:ext>
            </a:extLst>
          </p:cNvPr>
          <p:cNvSpPr>
            <a:spLocks noGrp="1"/>
          </p:cNvSpPr>
          <p:nvPr>
            <p:ph type="ftr" sz="quarter" idx="13"/>
          </p:nvPr>
        </p:nvSpPr>
        <p:spPr/>
        <p:txBody>
          <a:bodyPr/>
          <a:lstStyle/>
          <a:p>
            <a:pPr>
              <a:lnSpc>
                <a:spcPct val="100000"/>
              </a:lnSpc>
            </a:pPr>
            <a:r>
              <a:rPr lang="en-US"/>
              <a:t>Unrestricted | © Siemens 2021 | Dr. Andreas Litzinger, José Malagon | SE DG EA | 2021-05-27</a:t>
            </a:r>
            <a:endParaRPr lang="en-US" dirty="0"/>
          </a:p>
        </p:txBody>
      </p:sp>
      <p:sp>
        <p:nvSpPr>
          <p:cNvPr id="7" name="Slide Number Placeholder">
            <a:extLst>
              <a:ext uri="{FF2B5EF4-FFF2-40B4-BE49-F238E27FC236}">
                <a16:creationId xmlns:a16="http://schemas.microsoft.com/office/drawing/2014/main" id="{9AD82E40-8759-4AAC-B9F2-63E0F2C4CC7C}"/>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3664610299"/>
      </p:ext>
    </p:extLst>
  </p:cSld>
  <p:clrMapOvr>
    <a:masterClrMapping/>
  </p:clrMapOvr>
  <p:extLst>
    <p:ext uri="{DCECCB84-F9BA-43D5-87BE-67443E8EF086}">
      <p15:sldGuideLst xmlns:p15="http://schemas.microsoft.com/office/powerpoint/2012/main">
        <p15:guide id="1" pos="259" userDrawn="1">
          <p15:clr>
            <a:srgbClr val="65CEFF"/>
          </p15:clr>
        </p15:guide>
        <p15:guide id="2" pos="4794" userDrawn="1">
          <p15:clr>
            <a:srgbClr val="65CEFF"/>
          </p15:clr>
        </p15:guide>
        <p15:guide id="3" pos="5066" userDrawn="1">
          <p15:clr>
            <a:srgbClr val="65CEFF"/>
          </p15:clr>
        </p15:guide>
        <p15:guide id="4" pos="6472" userDrawn="1">
          <p15:clr>
            <a:srgbClr val="65CEFF"/>
          </p15:clr>
        </p15:guide>
        <p15:guide id="5" pos="7425" userDrawn="1">
          <p15:clr>
            <a:srgbClr val="65CEFF"/>
          </p15:clr>
        </p15:guide>
        <p15:guide id="6" orient="horz" pos="302" userDrawn="1">
          <p15:clr>
            <a:srgbClr val="65CEFF"/>
          </p15:clr>
        </p15:guide>
        <p15:guide id="7" orient="horz" pos="664" userDrawn="1">
          <p15:clr>
            <a:srgbClr val="65CEFF"/>
          </p15:clr>
        </p15:guide>
        <p15:guide id="8" orient="horz" pos="891" userDrawn="1">
          <p15:clr>
            <a:srgbClr val="65CEFF"/>
          </p15:clr>
        </p15:guide>
        <p15:guide id="9" orient="horz" pos="3658" userDrawn="1">
          <p15:clr>
            <a:srgbClr val="65CEFF"/>
          </p15:clr>
        </p15:guide>
        <p15:guide id="10" orient="horz" pos="3885" userDrawn="1">
          <p15:clr>
            <a:srgbClr val="65CEFF"/>
          </p15:clr>
        </p15:guide>
        <p15:guide id="11" orient="horz" pos="4157" userDrawn="1">
          <p15:clr>
            <a:srgbClr val="65CEFF"/>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table (large)">
    <p:spTree>
      <p:nvGrpSpPr>
        <p:cNvPr id="1" name=""/>
        <p:cNvGrpSpPr/>
        <p:nvPr/>
      </p:nvGrpSpPr>
      <p:grpSpPr>
        <a:xfrm>
          <a:off x="0" y="0"/>
          <a:ext cx="0" cy="0"/>
          <a:chOff x="0" y="0"/>
          <a:chExt cx="0" cy="0"/>
        </a:xfrm>
      </p:grpSpPr>
      <p:sp>
        <p:nvSpPr>
          <p:cNvPr id="7" name="Title">
            <a:extLst>
              <a:ext uri="{FF2B5EF4-FFF2-40B4-BE49-F238E27FC236}">
                <a16:creationId xmlns:a16="http://schemas.microsoft.com/office/drawing/2014/main" id="{9C4633C1-8D3E-45A5-A522-817574663A85}"/>
              </a:ext>
            </a:extLst>
          </p:cNvPr>
          <p:cNvSpPr>
            <a:spLocks noGrp="1"/>
          </p:cNvSpPr>
          <p:nvPr>
            <p:ph type="title"/>
          </p:nvPr>
        </p:nvSpPr>
        <p:spPr/>
        <p:txBody>
          <a:bodyPr/>
          <a:lstStyle>
            <a:lvl1pPr>
              <a:defRPr>
                <a:solidFill>
                  <a:schemeClr val="accent1"/>
                </a:solidFill>
              </a:defRPr>
            </a:lvl1pPr>
          </a:lstStyle>
          <a:p>
            <a:r>
              <a:rPr lang="de-DE"/>
              <a:t>Mastertitelformat bearbeiten</a:t>
            </a:r>
            <a:endParaRPr lang="en-US" dirty="0"/>
          </a:p>
        </p:txBody>
      </p:sp>
      <p:sp>
        <p:nvSpPr>
          <p:cNvPr id="6" name="Table Placeholder">
            <a:extLst>
              <a:ext uri="{FF2B5EF4-FFF2-40B4-BE49-F238E27FC236}">
                <a16:creationId xmlns:a16="http://schemas.microsoft.com/office/drawing/2014/main" id="{D41D1FE0-EDDA-47B8-BF1F-831D4733C32A}"/>
              </a:ext>
            </a:extLst>
          </p:cNvPr>
          <p:cNvSpPr>
            <a:spLocks noGrp="1"/>
          </p:cNvSpPr>
          <p:nvPr>
            <p:ph type="tbl" sz="quarter" idx="12"/>
          </p:nvPr>
        </p:nvSpPr>
        <p:spPr>
          <a:xfrm>
            <a:off x="404812" y="1414461"/>
            <a:ext cx="11376026" cy="4392000"/>
          </a:xfrm>
        </p:spPr>
        <p:txBody>
          <a:bodyPr/>
          <a:lstStyle/>
          <a:p>
            <a:r>
              <a:rPr lang="de-DE"/>
              <a:t>Tabelle durch Klicken auf Symbol hinzufügen</a:t>
            </a:r>
            <a:endParaRPr lang="en-US" dirty="0"/>
          </a:p>
        </p:txBody>
      </p:sp>
      <p:sp>
        <p:nvSpPr>
          <p:cNvPr id="3" name="Footer Placeholder">
            <a:extLst>
              <a:ext uri="{FF2B5EF4-FFF2-40B4-BE49-F238E27FC236}">
                <a16:creationId xmlns:a16="http://schemas.microsoft.com/office/drawing/2014/main" id="{9CEA2FAD-1597-4F5C-878D-02CB854024F3}"/>
              </a:ext>
            </a:extLst>
          </p:cNvPr>
          <p:cNvSpPr>
            <a:spLocks noGrp="1"/>
          </p:cNvSpPr>
          <p:nvPr>
            <p:ph type="ftr" sz="quarter" idx="13"/>
          </p:nvPr>
        </p:nvSpPr>
        <p:spPr/>
        <p:txBody>
          <a:bodyPr/>
          <a:lstStyle/>
          <a:p>
            <a:pPr>
              <a:lnSpc>
                <a:spcPct val="100000"/>
              </a:lnSpc>
            </a:pPr>
            <a:r>
              <a:rPr lang="en-US"/>
              <a:t>Unrestricted | © Siemens 2021 | Dr. Andreas Litzinger, José Malagon | SE DG EA | 2021-05-27</a:t>
            </a:r>
            <a:endParaRPr lang="en-US" dirty="0"/>
          </a:p>
        </p:txBody>
      </p:sp>
      <p:sp>
        <p:nvSpPr>
          <p:cNvPr id="5" name="Slide Number Placeholder">
            <a:extLst>
              <a:ext uri="{FF2B5EF4-FFF2-40B4-BE49-F238E27FC236}">
                <a16:creationId xmlns:a16="http://schemas.microsoft.com/office/drawing/2014/main" id="{CE0A22CB-5E69-4817-B713-C02B97CF6B91}"/>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2EA6CE5F-6FF7-4E0A-AEB2-1A7C43CE05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912428891"/>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302" userDrawn="1">
          <p15:clr>
            <a:srgbClr val="65CEFF"/>
          </p15:clr>
        </p15:guide>
        <p15:guide id="5" orient="horz" pos="664" userDrawn="1">
          <p15:clr>
            <a:srgbClr val="65CEFF"/>
          </p15:clr>
        </p15:guide>
        <p15:guide id="6" orient="horz" pos="891" userDrawn="1">
          <p15:clr>
            <a:srgbClr val="65CEFF"/>
          </p15:clr>
        </p15:guide>
        <p15:guide id="7" orient="horz" pos="3658" userDrawn="1">
          <p15:clr>
            <a:srgbClr val="65CEFF"/>
          </p15:clr>
        </p15:guide>
        <p15:guide id="8" orient="horz" pos="3885" userDrawn="1">
          <p15:clr>
            <a:srgbClr val="65CEFF"/>
          </p15:clr>
        </p15:guide>
        <p15:guide id="9" orient="horz" pos="4157" userDrawn="1">
          <p15:clr>
            <a:srgbClr val="65CEFF"/>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ocess flow">
    <p:bg>
      <p:bgRef idx="1001">
        <a:schemeClr val="bg2"/>
      </p:bgRef>
    </p:bg>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F2A455C-53B1-4792-8EA9-F00926C48E39}"/>
              </a:ext>
            </a:extLst>
          </p:cNvPr>
          <p:cNvSpPr>
            <a:spLocks noGrp="1"/>
          </p:cNvSpPr>
          <p:nvPr>
            <p:ph type="title"/>
          </p:nvPr>
        </p:nvSpPr>
        <p:spPr/>
        <p:txBody>
          <a:bodyPr/>
          <a:lstStyle>
            <a:lvl1pPr>
              <a:defRPr>
                <a:solidFill>
                  <a:schemeClr val="tx1"/>
                </a:solidFill>
              </a:defRPr>
            </a:lvl1pPr>
          </a:lstStyle>
          <a:p>
            <a:r>
              <a:rPr lang="de-DE"/>
              <a:t>Mastertitelformat bearbeiten</a:t>
            </a:r>
            <a:endParaRPr lang="en-US" dirty="0"/>
          </a:p>
        </p:txBody>
      </p:sp>
      <p:sp>
        <p:nvSpPr>
          <p:cNvPr id="3" name="Copy 1">
            <a:extLst>
              <a:ext uri="{FF2B5EF4-FFF2-40B4-BE49-F238E27FC236}">
                <a16:creationId xmlns:a16="http://schemas.microsoft.com/office/drawing/2014/main" id="{9CE7E2D8-94E8-4FE6-93A5-924CA3EC5315}"/>
              </a:ext>
            </a:extLst>
          </p:cNvPr>
          <p:cNvSpPr>
            <a:spLocks noGrp="1"/>
          </p:cNvSpPr>
          <p:nvPr>
            <p:ph idx="1"/>
          </p:nvPr>
        </p:nvSpPr>
        <p:spPr>
          <a:xfrm>
            <a:off x="411162"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Copy 2">
            <a:extLst>
              <a:ext uri="{FF2B5EF4-FFF2-40B4-BE49-F238E27FC236}">
                <a16:creationId xmlns:a16="http://schemas.microsoft.com/office/drawing/2014/main" id="{3AC3CE10-0C4B-4A11-BA76-8CAFED13661C}"/>
              </a:ext>
            </a:extLst>
          </p:cNvPr>
          <p:cNvSpPr>
            <a:spLocks noGrp="1"/>
          </p:cNvSpPr>
          <p:nvPr>
            <p:ph idx="13"/>
          </p:nvPr>
        </p:nvSpPr>
        <p:spPr>
          <a:xfrm>
            <a:off x="4299176" y="1414462"/>
            <a:ext cx="3600000" cy="4392000"/>
          </a:xfrm>
          <a:prstGeom prst="rect">
            <a:avLst/>
          </a:prstGeom>
          <a:ln w="19050">
            <a:solidFill>
              <a:schemeClr val="accent2"/>
            </a:solidFill>
          </a:ln>
        </p:spPr>
        <p:txBody>
          <a:bodyPr lIns="216000" tIns="144000" rIns="216000" bIns="144000">
            <a:noAutofit/>
          </a:bodyPr>
          <a:lstStyle>
            <a:lvl1pPr>
              <a:defRPr>
                <a:ln>
                  <a:noFill/>
                </a:ln>
              </a:defRPr>
            </a:lvl1pPr>
            <a:lvl2pPr>
              <a:buClr>
                <a:srgbClr val="00FFB9"/>
              </a:buClr>
              <a:defRPr>
                <a:ln>
                  <a:noFill/>
                </a:ln>
              </a:defRPr>
            </a:lvl2pPr>
            <a:lvl3pPr>
              <a:buClr>
                <a:srgbClr val="00FFB9"/>
              </a:buClr>
              <a:defRPr>
                <a:ln>
                  <a:noFill/>
                </a:ln>
              </a:defRPr>
            </a:lvl3pPr>
            <a:lvl4pPr>
              <a:buClr>
                <a:srgbClr val="00FFB9"/>
              </a:buClr>
              <a:defRPr>
                <a:ln>
                  <a:noFill/>
                </a:ln>
              </a:defRPr>
            </a:lvl4pPr>
            <a:lvl5pPr>
              <a:buClr>
                <a:srgbClr val="00FFB9"/>
              </a:buClr>
              <a:defRPr>
                <a:ln>
                  <a:noFill/>
                </a:ln>
              </a:defRPr>
            </a:lvl5pPr>
            <a:lvl6pPr>
              <a:buClr>
                <a:srgbClr val="00FFB9"/>
              </a:buClr>
              <a:defRPr>
                <a:ln>
                  <a:noFill/>
                </a:ln>
              </a:defRPr>
            </a:lvl6pPr>
            <a:lvl7pPr>
              <a:buClr>
                <a:srgbClr val="00FFB9"/>
              </a:buClr>
              <a:defRPr>
                <a:ln>
                  <a:noFill/>
                </a:ln>
              </a:defRPr>
            </a:lvl7pPr>
            <a:lvl8pPr>
              <a:buClr>
                <a:srgbClr val="00FFB9"/>
              </a:buClr>
              <a:defRPr>
                <a:ln>
                  <a:noFill/>
                </a:ln>
              </a:defRPr>
            </a:lvl8pPr>
            <a:lvl9pPr>
              <a:buClr>
                <a:srgbClr val="00FFB9"/>
              </a:buClr>
              <a:defRPr>
                <a:ln>
                  <a:noFill/>
                </a:ln>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Copy 3">
            <a:extLst>
              <a:ext uri="{FF2B5EF4-FFF2-40B4-BE49-F238E27FC236}">
                <a16:creationId xmlns:a16="http://schemas.microsoft.com/office/drawing/2014/main" id="{E840DCCC-8E77-40B8-B94B-A4D3A4D77826}"/>
              </a:ext>
            </a:extLst>
          </p:cNvPr>
          <p:cNvSpPr>
            <a:spLocks noGrp="1"/>
          </p:cNvSpPr>
          <p:nvPr>
            <p:ph idx="12"/>
          </p:nvPr>
        </p:nvSpPr>
        <p:spPr>
          <a:xfrm>
            <a:off x="8187189" y="1414462"/>
            <a:ext cx="3600000" cy="4392000"/>
          </a:xfrm>
          <a:prstGeom prst="rect">
            <a:avLst/>
          </a:prstGeom>
          <a:solidFill>
            <a:schemeClr val="tx2"/>
          </a:solidFill>
          <a:ln w="19050">
            <a:solidFill>
              <a:schemeClr val="tx1"/>
            </a:solidFill>
          </a:ln>
        </p:spPr>
        <p:txBody>
          <a:bodyPr lIns="216000" tIns="144000" rIns="216000" bIns="144000">
            <a:noAutofit/>
          </a:bodyPr>
          <a:lstStyle>
            <a:lvl1pPr>
              <a:defRPr>
                <a:solidFill>
                  <a:schemeClr val="bg1"/>
                </a:solidFill>
              </a:defRPr>
            </a:lvl1pPr>
            <a:lvl2pPr>
              <a:buClr>
                <a:schemeClr val="accent1"/>
              </a:buClr>
              <a:defRPr>
                <a:solidFill>
                  <a:schemeClr val="bg1"/>
                </a:solidFill>
              </a:defRPr>
            </a:lvl2pPr>
            <a:lvl3pPr>
              <a:buClr>
                <a:schemeClr val="accent1"/>
              </a:buClr>
              <a:defRPr>
                <a:solidFill>
                  <a:schemeClr val="bg1"/>
                </a:solidFill>
              </a:defRPr>
            </a:lvl3pPr>
            <a:lvl4pPr>
              <a:buClr>
                <a:schemeClr val="accent1"/>
              </a:buClr>
              <a:defRPr>
                <a:solidFill>
                  <a:schemeClr val="bg1"/>
                </a:solidFill>
              </a:defRPr>
            </a:lvl4pPr>
            <a:lvl5pPr>
              <a:buClr>
                <a:schemeClr val="accent1"/>
              </a:buClr>
              <a:defRPr>
                <a:solidFill>
                  <a:schemeClr val="bg1"/>
                </a:solidFill>
              </a:defRPr>
            </a:lvl5pPr>
            <a:lvl6pPr>
              <a:buClr>
                <a:schemeClr val="accent1"/>
              </a:buClr>
              <a:defRPr>
                <a:solidFill>
                  <a:schemeClr val="bg1"/>
                </a:solidFill>
              </a:defRPr>
            </a:lvl6pPr>
            <a:lvl7pPr>
              <a:buClr>
                <a:schemeClr val="accent1"/>
              </a:buClr>
              <a:defRPr>
                <a:solidFill>
                  <a:schemeClr val="bg1"/>
                </a:solidFill>
              </a:defRPr>
            </a:lvl7pPr>
            <a:lvl8pPr>
              <a:buClr>
                <a:schemeClr val="accent1"/>
              </a:buClr>
              <a:defRPr>
                <a:solidFill>
                  <a:schemeClr val="bg1"/>
                </a:solidFill>
              </a:defRPr>
            </a:lvl8pPr>
            <a:lvl9pPr>
              <a:buClr>
                <a:schemeClr val="accent1"/>
              </a:buClr>
              <a:defRPr>
                <a:solidFill>
                  <a:schemeClr val="bg1"/>
                </a:solidFill>
              </a:defRPr>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6" name="Footer Placeholder">
            <a:extLst>
              <a:ext uri="{FF2B5EF4-FFF2-40B4-BE49-F238E27FC236}">
                <a16:creationId xmlns:a16="http://schemas.microsoft.com/office/drawing/2014/main" id="{91FCCEDD-7521-4BD5-8A32-A62DA6246709}"/>
              </a:ext>
            </a:extLst>
          </p:cNvPr>
          <p:cNvSpPr>
            <a:spLocks noGrp="1"/>
          </p:cNvSpPr>
          <p:nvPr>
            <p:ph type="ftr" sz="quarter" idx="14"/>
          </p:nvPr>
        </p:nvSpPr>
        <p:spPr/>
        <p:txBody>
          <a:bodyPr/>
          <a:lstStyle/>
          <a:p>
            <a:pPr>
              <a:lnSpc>
                <a:spcPct val="100000"/>
              </a:lnSpc>
            </a:pPr>
            <a:r>
              <a:rPr lang="en-US"/>
              <a:t>Unrestricted | © Siemens 2021 | Dr. Andreas Litzinger, José Malagon | SE DG EA | 2021-05-27</a:t>
            </a:r>
            <a:endParaRPr lang="en-US" dirty="0"/>
          </a:p>
        </p:txBody>
      </p:sp>
      <p:sp>
        <p:nvSpPr>
          <p:cNvPr id="7" name="Slide Number Placeholder">
            <a:extLst>
              <a:ext uri="{FF2B5EF4-FFF2-40B4-BE49-F238E27FC236}">
                <a16:creationId xmlns:a16="http://schemas.microsoft.com/office/drawing/2014/main" id="{DC2AAE3E-7F56-4838-BCE7-6B966549F4DA}"/>
              </a:ext>
            </a:extLst>
          </p:cNvPr>
          <p:cNvSpPr>
            <a:spLocks noGrp="1"/>
          </p:cNvSpPr>
          <p:nvPr>
            <p:ph type="sldNum" sz="quarter" idx="15"/>
          </p:nvPr>
        </p:nvSpPr>
        <p:spPr/>
        <p:txBody>
          <a:bodyPr/>
          <a:lstStyle/>
          <a:p>
            <a:r>
              <a:rPr lang="en-US"/>
              <a:t>Page </a:t>
            </a:r>
            <a:fld id="{15EBE321-CBB1-4E91-BD14-37C8D44326FB}" type="slidenum">
              <a:rPr lang="en-US" smtClean="0"/>
              <a:pPr/>
              <a:t>‹Nr.›</a:t>
            </a:fld>
            <a:endParaRPr lang="en-US" dirty="0"/>
          </a:p>
        </p:txBody>
      </p:sp>
      <p:pic>
        <p:nvPicPr>
          <p:cNvPr id="9" name="Siemens Logo">
            <a:extLst>
              <a:ext uri="{FF2B5EF4-FFF2-40B4-BE49-F238E27FC236}">
                <a16:creationId xmlns:a16="http://schemas.microsoft.com/office/drawing/2014/main" id="{E5DDD55C-5C17-4BCD-A9BB-FE8A69DC48D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6015824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2526" userDrawn="1">
          <p15:clr>
            <a:srgbClr val="65CEFF"/>
          </p15:clr>
        </p15:guide>
        <p15:guide id="3" pos="2708" userDrawn="1">
          <p15:clr>
            <a:srgbClr val="65CEFF"/>
          </p15:clr>
        </p15:guide>
        <p15:guide id="4" pos="4975" userDrawn="1">
          <p15:clr>
            <a:srgbClr val="65CEFF"/>
          </p15:clr>
        </p15:guide>
        <p15:guide id="5" pos="5157" userDrawn="1">
          <p15:clr>
            <a:srgbClr val="65CEFF"/>
          </p15:clr>
        </p15:guide>
        <p15:guide id="6" pos="6472" userDrawn="1">
          <p15:clr>
            <a:srgbClr val="65CEFF"/>
          </p15:clr>
        </p15:guide>
        <p15:guide id="7" pos="7425" userDrawn="1">
          <p15:clr>
            <a:srgbClr val="65CEFF"/>
          </p15:clr>
        </p15:guide>
        <p15:guide id="8" orient="horz" pos="302" userDrawn="1">
          <p15:clr>
            <a:srgbClr val="65CEFF"/>
          </p15:clr>
        </p15:guide>
        <p15:guide id="9" orient="horz" pos="664" userDrawn="1">
          <p15:clr>
            <a:srgbClr val="65CEFF"/>
          </p15:clr>
        </p15:guide>
        <p15:guide id="10" orient="horz" pos="891" userDrawn="1">
          <p15:clr>
            <a:srgbClr val="65CEFF"/>
          </p15:clr>
        </p15:guide>
        <p15:guide id="11" orient="horz" pos="3658" userDrawn="1">
          <p15:clr>
            <a:srgbClr val="65CEFF"/>
          </p15:clr>
        </p15:guide>
        <p15:guide id="12" orient="horz" pos="3885" userDrawn="1">
          <p15:clr>
            <a:srgbClr val="65CEFF"/>
          </p15:clr>
        </p15:guide>
        <p15:guide id="13" orient="horz" pos="4157" userDrawn="1">
          <p15:clr>
            <a:srgbClr val="65CE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Gradient DB–Petrol 6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Background pattern&#10;&#10;Description automatically generated">
            <a:extLst>
              <a:ext uri="{FF2B5EF4-FFF2-40B4-BE49-F238E27FC236}">
                <a16:creationId xmlns:a16="http://schemas.microsoft.com/office/drawing/2014/main" id="{DF3DAF0E-BB8A-4082-8CE7-1BBCE61C8CD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4"/>
            <a:ext cx="11376788" cy="2769989"/>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rIns="0" bIns="0" anchor="t" anchorCtr="0">
            <a:spAutoFit/>
          </a:bodyPr>
          <a:lstStyle>
            <a:lvl1pPr marL="414000">
              <a:lnSpc>
                <a:spcPct val="100000"/>
              </a:lnSpc>
              <a:defRPr sz="6000">
                <a:solidFill>
                  <a:schemeClr val="tx1"/>
                </a:solidFill>
              </a:defRPr>
            </a:lvl1pPr>
          </a:lstStyle>
          <a:p>
            <a:r>
              <a:rPr lang="en-US" dirty="0"/>
              <a:t>Click to edit </a:t>
            </a:r>
            <a:br>
              <a:rPr lang="en-US" dirty="0"/>
            </a:br>
            <a:r>
              <a:rPr lang="en-US" dirty="0"/>
              <a:t>Master title style</a:t>
            </a:r>
            <a:br>
              <a:rPr lang="en-US" dirty="0"/>
            </a:br>
            <a:r>
              <a:rPr lang="en-US" dirty="0"/>
              <a:t>3 lines 6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4184453"/>
            <a:ext cx="9288000" cy="1622621"/>
          </a:xfrm>
          <a:prstGeom prst="rect">
            <a:avLst/>
          </a:prstGeom>
        </p:spPr>
        <p:txBody>
          <a:bodyPr lIns="0" tIns="349200">
            <a:noAutofit/>
          </a:bodyPr>
          <a:lstStyle>
            <a:lvl1pPr marL="0" indent="0" algn="l">
              <a:spcAft>
                <a:spcPts val="300"/>
              </a:spcAft>
              <a:buNone/>
              <a:defRPr sz="24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24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6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3165426006"/>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light">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760" cy="4104000"/>
          </a:xfrm>
        </p:spPr>
        <p:txBody>
          <a:bodyPr>
            <a:noAutofit/>
          </a:bodyPr>
          <a:lstStyle>
            <a:lvl1pPr marL="0">
              <a:lnSpc>
                <a:spcPct val="110000"/>
              </a:lnSpc>
              <a:spcAft>
                <a:spcPts val="0"/>
              </a:spcAft>
              <a:defRPr sz="4800" b="0">
                <a:solidFill>
                  <a:schemeClr val="tx2"/>
                </a:solidFill>
              </a:defRPr>
            </a:lvl1pPr>
            <a:lvl2pPr marL="36000" indent="0">
              <a:lnSpc>
                <a:spcPct val="110000"/>
              </a:lnSpc>
              <a:spcBef>
                <a:spcPts val="600"/>
              </a:spcBef>
              <a:spcAft>
                <a:spcPts val="0"/>
              </a:spcAft>
              <a:buNone/>
              <a:defRPr sz="1800">
                <a:solidFill>
                  <a:schemeClr val="tx1"/>
                </a:solidFill>
              </a:defRPr>
            </a:lvl2pPr>
            <a:lvl3pPr marL="36000" indent="0">
              <a:lnSpc>
                <a:spcPct val="110000"/>
              </a:lnSpc>
              <a:spcBef>
                <a:spcPts val="600"/>
              </a:spcBef>
              <a:spcAft>
                <a:spcPts val="0"/>
              </a:spcAft>
              <a:buNone/>
              <a:defRPr sz="1800">
                <a:solidFill>
                  <a:schemeClr val="accent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2" name="Quote marks">
            <a:extLst>
              <a:ext uri="{FF2B5EF4-FFF2-40B4-BE49-F238E27FC236}">
                <a16:creationId xmlns:a16="http://schemas.microsoft.com/office/drawing/2014/main" id="{58EF2AB0-A78A-44C9-9A7D-F20D9ED854E0}"/>
              </a:ext>
            </a:extLst>
          </p:cNvPr>
          <p:cNvSpPr/>
          <p:nvPr/>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6AEDD147-ACC0-4A9C-9043-90612765C0FA}"/>
              </a:ext>
            </a:extLst>
          </p:cNvPr>
          <p:cNvSpPr>
            <a:spLocks noGrp="1"/>
          </p:cNvSpPr>
          <p:nvPr>
            <p:ph type="ftr" sz="quarter" idx="13"/>
          </p:nvPr>
        </p:nvSpPr>
        <p:spPr/>
        <p:txBody>
          <a:bodyPr/>
          <a:lstStyle/>
          <a:p>
            <a:pPr>
              <a:lnSpc>
                <a:spcPct val="100000"/>
              </a:lnSpc>
            </a:pPr>
            <a:r>
              <a:rPr lang="en-US"/>
              <a:t>Unrestricted | © Siemens 2021 | Dr. Andreas Litzinger, José Malagon | SE DG EA | 2021-05-27</a:t>
            </a:r>
            <a:endParaRPr lang="en-US" dirty="0"/>
          </a:p>
        </p:txBody>
      </p:sp>
      <p:sp>
        <p:nvSpPr>
          <p:cNvPr id="3" name="Slide Number Placeholder">
            <a:extLst>
              <a:ext uri="{FF2B5EF4-FFF2-40B4-BE49-F238E27FC236}">
                <a16:creationId xmlns:a16="http://schemas.microsoft.com/office/drawing/2014/main" id="{4131F54F-C70B-4435-91E6-F995F83E6C69}"/>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263419937"/>
      </p:ext>
    </p:extLst>
  </p:cSld>
  <p:clrMapOvr>
    <a:masterClrMapping/>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2206" userDrawn="1">
          <p15:clr>
            <a:srgbClr val="65CEFF"/>
          </p15:clr>
        </p15:guide>
        <p15:guide id="7" orient="horz" pos="2343" userDrawn="1">
          <p15:clr>
            <a:srgbClr val="65CEFF"/>
          </p15:clr>
        </p15:guide>
        <p15:guide id="8" orient="horz" pos="3658" userDrawn="1">
          <p15:clr>
            <a:srgbClr val="65CEFF"/>
          </p15:clr>
        </p15:guide>
        <p15:guide id="9" orient="horz" pos="3885" userDrawn="1">
          <p15:clr>
            <a:srgbClr val="65CEFF"/>
          </p15:clr>
        </p15:guide>
        <p15:guide id="10" orient="horz" pos="4157" userDrawn="1">
          <p15:clr>
            <a:srgbClr val="65CEFF"/>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bg2"/>
        </a:solidFill>
        <a:effectLst/>
      </p:bgPr>
    </p:bg>
    <p:spTree>
      <p:nvGrpSpPr>
        <p:cNvPr id="1" name=""/>
        <p:cNvGrpSpPr/>
        <p:nvPr/>
      </p:nvGrpSpPr>
      <p:grpSpPr>
        <a:xfrm>
          <a:off x="0" y="0"/>
          <a:ext cx="0" cy="0"/>
          <a:chOff x="0" y="0"/>
          <a:chExt cx="0" cy="0"/>
        </a:xfrm>
      </p:grpSpPr>
      <p:sp>
        <p:nvSpPr>
          <p:cNvPr id="7" name="Copy">
            <a:extLst>
              <a:ext uri="{FF2B5EF4-FFF2-40B4-BE49-F238E27FC236}">
                <a16:creationId xmlns:a16="http://schemas.microsoft.com/office/drawing/2014/main" id="{9E21D6DF-C9DB-4F02-863A-C5513347A27E}"/>
              </a:ext>
            </a:extLst>
          </p:cNvPr>
          <p:cNvSpPr>
            <a:spLocks noGrp="1"/>
          </p:cNvSpPr>
          <p:nvPr>
            <p:ph type="body" sz="quarter" idx="12" hasCustomPrompt="1"/>
          </p:nvPr>
        </p:nvSpPr>
        <p:spPr>
          <a:xfrm>
            <a:off x="1022400" y="1702799"/>
            <a:ext cx="9252000" cy="4104000"/>
          </a:xfrm>
        </p:spPr>
        <p:txBody>
          <a:bodyPr>
            <a:noAutofit/>
          </a:bodyPr>
          <a:lstStyle>
            <a:lvl1pPr marL="0">
              <a:lnSpc>
                <a:spcPct val="110000"/>
              </a:lnSpc>
              <a:spcAft>
                <a:spcPts val="0"/>
              </a:spcAft>
              <a:defRPr sz="4800" b="0">
                <a:solidFill>
                  <a:schemeClr val="tx1"/>
                </a:solidFill>
              </a:defRPr>
            </a:lvl1pPr>
            <a:lvl2pPr marL="36000" indent="0">
              <a:lnSpc>
                <a:spcPct val="110000"/>
              </a:lnSpc>
              <a:spcBef>
                <a:spcPts val="600"/>
              </a:spcBef>
              <a:spcAft>
                <a:spcPts val="0"/>
              </a:spcAft>
              <a:buNone/>
              <a:defRPr sz="1800"/>
            </a:lvl2pPr>
            <a:lvl3pPr marL="36000" indent="0">
              <a:lnSpc>
                <a:spcPct val="110000"/>
              </a:lnSpc>
              <a:spcBef>
                <a:spcPts val="600"/>
              </a:spcBef>
              <a:spcAft>
                <a:spcPts val="0"/>
              </a:spcAft>
              <a:buNone/>
              <a:defRPr sz="1800">
                <a:solidFill>
                  <a:schemeClr val="tx1"/>
                </a:solidFill>
              </a:defRPr>
            </a:lvl3pPr>
            <a:lvl4pPr marL="0" indent="0">
              <a:lnSpc>
                <a:spcPct val="110000"/>
              </a:lnSpc>
              <a:spcAft>
                <a:spcPts val="0"/>
              </a:spcAft>
              <a:buNone/>
              <a:defRPr sz="4800"/>
            </a:lvl4pPr>
            <a:lvl5pPr marL="0" indent="0">
              <a:lnSpc>
                <a:spcPct val="110000"/>
              </a:lnSpc>
              <a:spcAft>
                <a:spcPts val="0"/>
              </a:spcAft>
              <a:buNone/>
              <a:defRPr sz="4800"/>
            </a:lvl5pPr>
          </a:lstStyle>
          <a:p>
            <a:pPr lvl="0"/>
            <a:r>
              <a:rPr lang="en-US" dirty="0"/>
              <a:t>Please insert quote here</a:t>
            </a:r>
          </a:p>
          <a:p>
            <a:pPr lvl="1"/>
            <a:r>
              <a:rPr lang="en-US" dirty="0"/>
              <a:t>Name, Author</a:t>
            </a:r>
          </a:p>
        </p:txBody>
      </p:sp>
      <p:sp>
        <p:nvSpPr>
          <p:cNvPr id="11" name="Quote marks">
            <a:extLst>
              <a:ext uri="{FF2B5EF4-FFF2-40B4-BE49-F238E27FC236}">
                <a16:creationId xmlns:a16="http://schemas.microsoft.com/office/drawing/2014/main" id="{916E4245-F21C-4EAB-8B26-FEA21C26067F}"/>
              </a:ext>
            </a:extLst>
          </p:cNvPr>
          <p:cNvSpPr/>
          <p:nvPr userDrawn="1"/>
        </p:nvSpPr>
        <p:spPr>
          <a:xfrm>
            <a:off x="1058400" y="766763"/>
            <a:ext cx="907891" cy="647700"/>
          </a:xfrm>
          <a:custGeom>
            <a:avLst/>
            <a:gdLst>
              <a:gd name="connsiteX0" fmla="*/ 0 w 2619164"/>
              <a:gd name="connsiteY0" fmla="*/ 1868543 h 1868542"/>
              <a:gd name="connsiteX1" fmla="*/ 742610 w 2619164"/>
              <a:gd name="connsiteY1" fmla="*/ 0 h 1868542"/>
              <a:gd name="connsiteX2" fmla="*/ 1318210 w 2619164"/>
              <a:gd name="connsiteY2" fmla="*/ 0 h 1868542"/>
              <a:gd name="connsiteX3" fmla="*/ 742610 w 2619164"/>
              <a:gd name="connsiteY3" fmla="*/ 1868543 h 1868542"/>
              <a:gd name="connsiteX4" fmla="*/ 0 w 2619164"/>
              <a:gd name="connsiteY4" fmla="*/ 1868543 h 1868542"/>
              <a:gd name="connsiteX5" fmla="*/ 1300954 w 2619164"/>
              <a:gd name="connsiteY5" fmla="*/ 1868543 h 1868542"/>
              <a:gd name="connsiteX6" fmla="*/ 2043564 w 2619164"/>
              <a:gd name="connsiteY6" fmla="*/ 0 h 1868542"/>
              <a:gd name="connsiteX7" fmla="*/ 2619164 w 2619164"/>
              <a:gd name="connsiteY7" fmla="*/ 0 h 1868542"/>
              <a:gd name="connsiteX8" fmla="*/ 2043564 w 2619164"/>
              <a:gd name="connsiteY8" fmla="*/ 1868543 h 1868542"/>
              <a:gd name="connsiteX9" fmla="*/ 1300954 w 2619164"/>
              <a:gd name="connsiteY9" fmla="*/ 1868543 h 186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9164" h="1868542">
                <a:moveTo>
                  <a:pt x="0" y="1868543"/>
                </a:moveTo>
                <a:lnTo>
                  <a:pt x="742610" y="0"/>
                </a:lnTo>
                <a:lnTo>
                  <a:pt x="1318210" y="0"/>
                </a:lnTo>
                <a:lnTo>
                  <a:pt x="742610" y="1868543"/>
                </a:lnTo>
                <a:lnTo>
                  <a:pt x="0" y="1868543"/>
                </a:lnTo>
                <a:close/>
                <a:moveTo>
                  <a:pt x="1300954" y="1868543"/>
                </a:moveTo>
                <a:lnTo>
                  <a:pt x="2043564" y="0"/>
                </a:lnTo>
                <a:lnTo>
                  <a:pt x="2619164" y="0"/>
                </a:lnTo>
                <a:lnTo>
                  <a:pt x="2043564" y="1868543"/>
                </a:lnTo>
                <a:lnTo>
                  <a:pt x="1300954" y="1868543"/>
                </a:lnTo>
                <a:close/>
              </a:path>
            </a:pathLst>
          </a:custGeom>
          <a:gradFill>
            <a:gsLst>
              <a:gs pos="0">
                <a:srgbClr val="00FFB9"/>
              </a:gs>
              <a:gs pos="100000">
                <a:srgbClr val="00E6DC"/>
              </a:gs>
            </a:gsLst>
            <a:lin ang="5400000" scaled="1"/>
          </a:gradFill>
          <a:ln w="61580" cap="flat">
            <a:noFill/>
            <a:prstDash val="solid"/>
            <a:miter/>
          </a:ln>
        </p:spPr>
        <p:txBody>
          <a:bodyPr rtlCol="0" anchor="ctr"/>
          <a:lstStyle/>
          <a:p>
            <a:endParaRPr lang="en-US" dirty="0"/>
          </a:p>
        </p:txBody>
      </p:sp>
      <p:sp>
        <p:nvSpPr>
          <p:cNvPr id="2" name="Footer Placeholder">
            <a:extLst>
              <a:ext uri="{FF2B5EF4-FFF2-40B4-BE49-F238E27FC236}">
                <a16:creationId xmlns:a16="http://schemas.microsoft.com/office/drawing/2014/main" id="{EC4F35EF-AC94-4800-9CB7-CA49CAFDD249}"/>
              </a:ext>
            </a:extLst>
          </p:cNvPr>
          <p:cNvSpPr>
            <a:spLocks noGrp="1"/>
          </p:cNvSpPr>
          <p:nvPr>
            <p:ph type="ftr" sz="quarter" idx="13"/>
          </p:nvPr>
        </p:nvSpPr>
        <p:spPr/>
        <p:txBody>
          <a:bodyPr/>
          <a:lstStyle/>
          <a:p>
            <a:pPr>
              <a:lnSpc>
                <a:spcPct val="100000"/>
              </a:lnSpc>
            </a:pPr>
            <a:r>
              <a:rPr lang="en-US"/>
              <a:t>Unrestricted | © Siemens 2021 | Dr. Andreas Litzinger, José Malagon | SE DG EA | 2021-05-27</a:t>
            </a:r>
            <a:endParaRPr lang="en-US" dirty="0"/>
          </a:p>
        </p:txBody>
      </p:sp>
      <p:sp>
        <p:nvSpPr>
          <p:cNvPr id="3" name="Slide Number Placeholder">
            <a:extLst>
              <a:ext uri="{FF2B5EF4-FFF2-40B4-BE49-F238E27FC236}">
                <a16:creationId xmlns:a16="http://schemas.microsoft.com/office/drawing/2014/main" id="{CCC7FBE7-01B9-4EC8-8BE1-F416F7C5B7AA}"/>
              </a:ext>
            </a:extLst>
          </p:cNvPr>
          <p:cNvSpPr>
            <a:spLocks noGrp="1"/>
          </p:cNvSpPr>
          <p:nvPr>
            <p:ph type="sldNum" sz="quarter" idx="14"/>
          </p:nvPr>
        </p:nvSpPr>
        <p:spPr/>
        <p:txBody>
          <a:bodyPr/>
          <a:lstStyle/>
          <a:p>
            <a:r>
              <a:rPr lang="en-US"/>
              <a:t>Page </a:t>
            </a:r>
            <a:fld id="{15EBE321-CBB1-4E91-BD14-37C8D44326FB}" type="slidenum">
              <a:rPr lang="en-US" smtClean="0"/>
              <a:pPr/>
              <a:t>‹Nr.›</a:t>
            </a:fld>
            <a:endParaRPr lang="en-US" dirty="0"/>
          </a:p>
        </p:txBody>
      </p:sp>
      <p:pic>
        <p:nvPicPr>
          <p:cNvPr id="8" name="Siemens Logo">
            <a:extLst>
              <a:ext uri="{FF2B5EF4-FFF2-40B4-BE49-F238E27FC236}">
                <a16:creationId xmlns:a16="http://schemas.microsoft.com/office/drawing/2014/main" id="{AF2E271F-5AF7-408E-9752-03D1D6448EA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2460512140"/>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91" userDrawn="1">
          <p15:clr>
            <a:srgbClr val="65CEFF"/>
          </p15:clr>
        </p15:guide>
        <p15:guide id="5" orient="horz" pos="1073" userDrawn="1">
          <p15:clr>
            <a:srgbClr val="65CEFF"/>
          </p15:clr>
        </p15:guide>
        <p15:guide id="6" orient="horz" pos="3658" userDrawn="1">
          <p15:clr>
            <a:srgbClr val="65CEFF"/>
          </p15:clr>
        </p15:guide>
        <p15:guide id="7" orient="horz" pos="3885" userDrawn="1">
          <p15:clr>
            <a:srgbClr val="65CEFF"/>
          </p15:clr>
        </p15:guide>
        <p15:guide id="8" orient="horz" pos="4157" userDrawn="1">
          <p15:clr>
            <a:srgbClr val="65CEFF"/>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atement light">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1538"/>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de-DE"/>
              <a:t>Mastertitelformat bearbeiten</a:t>
            </a:r>
            <a:endParaRPr lang="en-US" dirty="0"/>
          </a:p>
        </p:txBody>
      </p:sp>
      <p:sp>
        <p:nvSpPr>
          <p:cNvPr id="2" name="Footer Placeholder">
            <a:extLst>
              <a:ext uri="{FF2B5EF4-FFF2-40B4-BE49-F238E27FC236}">
                <a16:creationId xmlns:a16="http://schemas.microsoft.com/office/drawing/2014/main" id="{39F9E844-3827-4B6C-9CB5-13C9A70DCD4D}"/>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3" name="Slide Number Placeholder">
            <a:extLst>
              <a:ext uri="{FF2B5EF4-FFF2-40B4-BE49-F238E27FC236}">
                <a16:creationId xmlns:a16="http://schemas.microsoft.com/office/drawing/2014/main" id="{D52C2AF7-8539-453F-BD56-35B696DB2073}"/>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4" name="Siemens Logo">
            <a:extLst>
              <a:ext uri="{FF2B5EF4-FFF2-40B4-BE49-F238E27FC236}">
                <a16:creationId xmlns:a16="http://schemas.microsoft.com/office/drawing/2014/main" id="{F8D833B7-9866-4D2D-AEB7-012D6DDE2A37}"/>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271878887"/>
      </p:ext>
    </p:extLst>
  </p:cSld>
  <p:clrMapOvr>
    <a:masterClrMapping/>
  </p:clrMapOvr>
  <p:extLst>
    <p:ext uri="{DCECCB84-F9BA-43D5-87BE-67443E8EF086}">
      <p15:sldGuideLst xmlns:p15="http://schemas.microsoft.com/office/powerpoint/2012/main">
        <p15:guide id="1" pos="259">
          <p15:clr>
            <a:srgbClr val="65CEFF"/>
          </p15:clr>
        </p15:guide>
        <p15:guide id="2" pos="6472">
          <p15:clr>
            <a:srgbClr val="65CEFF"/>
          </p15:clr>
        </p15:guide>
        <p15:guide id="3" pos="7425">
          <p15:clr>
            <a:srgbClr val="65CEFF"/>
          </p15:clr>
        </p15:guide>
        <p15:guide id="4" orient="horz" pos="801">
          <p15:clr>
            <a:srgbClr val="65CEFF"/>
          </p15:clr>
        </p15:guide>
        <p15:guide id="5" orient="horz" pos="3658">
          <p15:clr>
            <a:srgbClr val="65CEFF"/>
          </p15:clr>
        </p15:guide>
        <p15:guide id="6" orient="horz" pos="4157">
          <p15:clr>
            <a:srgbClr val="65CEFF"/>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tement dark">
    <p:bg>
      <p:bgRef idx="1001">
        <a:schemeClr val="bg2"/>
      </p:bgRef>
    </p:bg>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39939C22-A735-46A9-A277-A4B1B330F31C}"/>
              </a:ext>
            </a:extLst>
          </p:cNvPr>
          <p:cNvSpPr>
            <a:spLocks noGrp="1"/>
          </p:cNvSpPr>
          <p:nvPr>
            <p:ph type="title"/>
          </p:nvPr>
        </p:nvSpPr>
        <p:spPr>
          <a:xfrm>
            <a:off x="986400" y="1270799"/>
            <a:ext cx="10800000" cy="4536000"/>
          </a:xfrm>
        </p:spPr>
        <p:txBody>
          <a:bodyPr lIns="0" tIns="0" rIns="0" bIns="0" anchor="t">
            <a:noAutofit/>
          </a:bodyPr>
          <a:lstStyle>
            <a:lvl1pPr>
              <a:lnSpc>
                <a:spcPct val="90000"/>
              </a:lnSpc>
              <a:defRPr sz="8000">
                <a:gradFill>
                  <a:gsLst>
                    <a:gs pos="0">
                      <a:schemeClr val="accent2"/>
                    </a:gs>
                    <a:gs pos="100000">
                      <a:schemeClr val="accent3"/>
                    </a:gs>
                  </a:gsLst>
                  <a:lin ang="0" scaled="1"/>
                </a:gradFill>
              </a:defRPr>
            </a:lvl1pPr>
          </a:lstStyle>
          <a:p>
            <a:r>
              <a:rPr lang="de-DE"/>
              <a:t>Mastertitelformat bearbeiten</a:t>
            </a:r>
            <a:endParaRPr lang="en-US" dirty="0"/>
          </a:p>
        </p:txBody>
      </p:sp>
      <p:sp>
        <p:nvSpPr>
          <p:cNvPr id="2" name="Footer Placeholder">
            <a:extLst>
              <a:ext uri="{FF2B5EF4-FFF2-40B4-BE49-F238E27FC236}">
                <a16:creationId xmlns:a16="http://schemas.microsoft.com/office/drawing/2014/main" id="{09BD8BE5-BFF2-469D-8B93-9556FCC45CF1}"/>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3" name="Slide Number Placeholder">
            <a:extLst>
              <a:ext uri="{FF2B5EF4-FFF2-40B4-BE49-F238E27FC236}">
                <a16:creationId xmlns:a16="http://schemas.microsoft.com/office/drawing/2014/main" id="{F9372441-FA7E-4481-BBC2-24CB6D3017C8}"/>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4" name="Siemens Logo">
            <a:extLst>
              <a:ext uri="{FF2B5EF4-FFF2-40B4-BE49-F238E27FC236}">
                <a16:creationId xmlns:a16="http://schemas.microsoft.com/office/drawing/2014/main" id="{0EF6BB07-4F4E-4859-9572-DA63E35B93A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1316416684"/>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801"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act">
    <p:bg>
      <p:bgRef idx="1001">
        <a:schemeClr val="bg2"/>
      </p:bgRef>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B29E3DA4-014E-4F3D-8186-84366ADFCB03}"/>
              </a:ext>
            </a:extLst>
          </p:cNvPr>
          <p:cNvSpPr>
            <a:spLocks noGrp="1"/>
          </p:cNvSpPr>
          <p:nvPr>
            <p:ph type="title" hasCustomPrompt="1"/>
          </p:nvPr>
        </p:nvSpPr>
        <p:spPr>
          <a:xfrm>
            <a:off x="411163" y="1234800"/>
            <a:ext cx="9863237" cy="1162523"/>
          </a:xfrm>
          <a:blipFill dpi="0" rotWithShape="1">
            <a:blip r:embed="rId2">
              <a:extLst>
                <a:ext uri="{96DAC541-7B7A-43D3-8B79-37D633B846F1}">
                  <asvg:svgBlip xmlns:asvg="http://schemas.microsoft.com/office/drawing/2016/SVG/main" r:embed="rId3"/>
                </a:ext>
              </a:extLst>
            </a:blip>
            <a:srcRect/>
            <a:stretch>
              <a:fillRect/>
            </a:stretch>
          </a:blipFill>
        </p:spPr>
        <p:txBody>
          <a:bodyPr wrap="square" lIns="0" tIns="54000" rIns="0" bIns="0" anchor="t" anchorCtr="0">
            <a:spAutoFit/>
          </a:bodyPr>
          <a:lstStyle>
            <a:lvl1pPr marL="540000">
              <a:defRPr sz="8000">
                <a:solidFill>
                  <a:schemeClr val="tx1"/>
                </a:solidFill>
              </a:defRPr>
            </a:lvl1pPr>
          </a:lstStyle>
          <a:p>
            <a:r>
              <a:rPr lang="en-US" dirty="0"/>
              <a:t>Contact</a:t>
            </a:r>
          </a:p>
        </p:txBody>
      </p:sp>
      <p:sp>
        <p:nvSpPr>
          <p:cNvPr id="3" name="Copy">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1058400" y="2397324"/>
            <a:ext cx="9216000" cy="3409751"/>
          </a:xfrm>
          <a:prstGeom prst="rect">
            <a:avLst/>
          </a:prstGeom>
        </p:spPr>
        <p:txBody>
          <a:bodyPr tIns="108000">
            <a:noAutofit/>
          </a:bodyPr>
          <a:lstStyle>
            <a:lvl1pPr marL="0" indent="0" algn="l">
              <a:spcAft>
                <a:spcPts val="0"/>
              </a:spcAft>
              <a:buNone/>
              <a:defRPr sz="1400">
                <a:solidFill>
                  <a:schemeClr val="tx1"/>
                </a:solidFill>
              </a:defRPr>
            </a:lvl1pPr>
            <a:lvl2pPr marL="0" indent="0" algn="l">
              <a:spcBef>
                <a:spcPts val="600"/>
              </a:spcBef>
              <a:spcAft>
                <a:spcPts val="0"/>
              </a:spcAft>
              <a:buFont typeface="Arial" panose="020B0604020202020204" pitchFamily="34" charset="0"/>
              <a:buNone/>
              <a:defRPr sz="1400" b="1"/>
            </a:lvl2pPr>
            <a:lvl3pPr marL="180000" indent="-180000" algn="l">
              <a:spcAft>
                <a:spcPts val="0"/>
              </a:spcAft>
              <a:buFont typeface="Arial" panose="020B0604020202020204" pitchFamily="34" charset="0"/>
              <a:buChar char="•"/>
              <a:defRPr sz="1400" b="0"/>
            </a:lvl3pPr>
            <a:lvl4pPr marL="360000" indent="-180000" algn="l">
              <a:spcAft>
                <a:spcPts val="0"/>
              </a:spcAft>
              <a:buFont typeface="Arial" panose="020B0604020202020204" pitchFamily="34" charset="0"/>
              <a:buChar char="•"/>
              <a:defRPr sz="1400"/>
            </a:lvl4pPr>
            <a:lvl5pPr marL="360000" indent="-180000" algn="l">
              <a:spcAft>
                <a:spcPts val="0"/>
              </a:spcAft>
              <a:buFont typeface="Arial" panose="020B0604020202020204" pitchFamily="34" charset="0"/>
              <a:buChar char="•"/>
              <a:defRPr sz="1400" b="1"/>
            </a:lvl5pPr>
            <a:lvl6pPr marL="540000" indent="-180000" algn="l">
              <a:spcAft>
                <a:spcPts val="0"/>
              </a:spcAft>
              <a:buFont typeface="Arial" panose="020B0604020202020204" pitchFamily="34" charset="0"/>
              <a:buChar char="•"/>
              <a:defRPr sz="1400"/>
            </a:lvl6pPr>
            <a:lvl7pPr marL="540000" indent="-180000" algn="l">
              <a:spcAft>
                <a:spcPts val="0"/>
              </a:spcAft>
              <a:buFont typeface="Arial" panose="020B0604020202020204" pitchFamily="34" charset="0"/>
              <a:buChar char="•"/>
              <a:defRPr sz="1400" b="1"/>
            </a:lvl7pPr>
            <a:lvl8pPr marL="720000" indent="-180000" algn="l">
              <a:spcAft>
                <a:spcPts val="0"/>
              </a:spcAft>
              <a:buFont typeface="Arial" panose="020B0604020202020204" pitchFamily="34" charset="0"/>
              <a:buChar char="•"/>
              <a:defRPr sz="1400"/>
            </a:lvl8pPr>
            <a:lvl9pPr marL="720000" indent="-180000" algn="l">
              <a:spcAft>
                <a:spcPts val="0"/>
              </a:spcAft>
              <a:buFont typeface="Arial" panose="020B0604020202020204" pitchFamily="34" charset="0"/>
              <a:buChar char="•"/>
              <a:defRPr sz="1400" b="1"/>
            </a:lvl9pPr>
          </a:lstStyle>
          <a:p>
            <a:pPr lvl="0"/>
            <a:r>
              <a:rPr lang="en-US" dirty="0"/>
              <a:t>Click to edit the contact</a:t>
            </a:r>
          </a:p>
          <a:p>
            <a:pPr lvl="1"/>
            <a:r>
              <a:rPr lang="en-US" dirty="0"/>
              <a:t>Name etc.</a:t>
            </a:r>
          </a:p>
          <a:p>
            <a:pPr lvl="2"/>
            <a:r>
              <a:rPr lang="en-US" dirty="0"/>
              <a:t>Department etc.</a:t>
            </a:r>
          </a:p>
          <a:p>
            <a:pPr lvl="3"/>
            <a:r>
              <a:rPr lang="en-US" dirty="0"/>
              <a:t>subchapter</a:t>
            </a:r>
          </a:p>
          <a:p>
            <a:pPr lvl="4"/>
            <a:r>
              <a:rPr lang="en-US" dirty="0"/>
              <a:t>active subchapter</a:t>
            </a:r>
          </a:p>
        </p:txBody>
      </p:sp>
      <p:sp>
        <p:nvSpPr>
          <p:cNvPr id="8" name="Footer Placeholder">
            <a:extLst>
              <a:ext uri="{FF2B5EF4-FFF2-40B4-BE49-F238E27FC236}">
                <a16:creationId xmlns:a16="http://schemas.microsoft.com/office/drawing/2014/main" id="{3279A350-3BB2-4CA2-A422-8F5A951F6F64}"/>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9" name="Slide Number Placeholder">
            <a:extLst>
              <a:ext uri="{FF2B5EF4-FFF2-40B4-BE49-F238E27FC236}">
                <a16:creationId xmlns:a16="http://schemas.microsoft.com/office/drawing/2014/main" id="{CFF9630D-791D-45AE-8E5E-36F747F599E9}"/>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10" name="Siemens Logo">
            <a:extLst>
              <a:ext uri="{FF2B5EF4-FFF2-40B4-BE49-F238E27FC236}">
                <a16:creationId xmlns:a16="http://schemas.microsoft.com/office/drawing/2014/main" id="{5FD2C39E-5D81-4A0E-9F45-909328900889}"/>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635188" y="6418800"/>
            <a:ext cx="1152000" cy="183168"/>
          </a:xfrm>
          <a:prstGeom prst="rect">
            <a:avLst/>
          </a:prstGeom>
        </p:spPr>
      </p:pic>
    </p:spTree>
    <p:extLst>
      <p:ext uri="{BB962C8B-B14F-4D97-AF65-F5344CB8AC3E}">
        <p14:creationId xmlns:p14="http://schemas.microsoft.com/office/powerpoint/2010/main" val="4100799088"/>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userDrawn="1">
          <p15:clr>
            <a:srgbClr val="65CEFF"/>
          </p15:clr>
        </p15:guide>
        <p15:guide id="2" pos="6472" userDrawn="1">
          <p15:clr>
            <a:srgbClr val="65CEFF"/>
          </p15:clr>
        </p15:guide>
        <p15:guide id="3" pos="7425" userDrawn="1">
          <p15:clr>
            <a:srgbClr val="65CEFF"/>
          </p15:clr>
        </p15:guide>
        <p15:guide id="4" orient="horz" pos="778" userDrawn="1">
          <p15:clr>
            <a:srgbClr val="65CEFF"/>
          </p15:clr>
        </p15:guide>
        <p15:guide id="5" orient="horz" pos="3658" userDrawn="1">
          <p15:clr>
            <a:srgbClr val="65CEFF"/>
          </p15:clr>
        </p15:guide>
        <p15:guide id="6" orient="horz" pos="4157" userDrawn="1">
          <p15:clr>
            <a:srgbClr val="65CEFF"/>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Free Content" type="titleOnly">
  <p:cSld name="1_Free Content">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0"/>
            <a:ext cx="12192000" cy="1440000"/>
          </a:xfrm>
          <a:noFill/>
          <a:ln w="9525">
            <a:noFill/>
            <a:miter lim="800000"/>
            <a:headEnd/>
            <a:tailEnd/>
          </a:ln>
        </p:spPr>
        <p:txBody>
          <a:bodyPr vert="horz" wrap="square" lIns="626400" tIns="432000" rIns="2124000" bIns="234000" numCol="1" anchor="t" anchorCtr="0" compatLnSpc="1">
            <a:prstTxWarp prst="textNoShape">
              <a:avLst/>
            </a:prstTxWarp>
          </a:bodyPr>
          <a:lstStyle>
            <a:lvl1pPr marL="0" marR="0" indent="0" algn="l" defTabSz="913943" rtl="0" eaLnBrk="1" fontAlgn="base" latinLnBrk="0" hangingPunct="1">
              <a:lnSpc>
                <a:spcPct val="100000"/>
              </a:lnSpc>
              <a:spcBef>
                <a:spcPct val="0"/>
              </a:spcBef>
              <a:spcAft>
                <a:spcPct val="0"/>
              </a:spcAft>
              <a:buClrTx/>
              <a:buSzTx/>
              <a:buFontTx/>
              <a:buNone/>
              <a:tabLst/>
              <a:defRPr lang="de-DE"/>
            </a:lvl1pPr>
          </a:lstStyle>
          <a:p>
            <a:pPr marL="0" marR="0" lvl="0" indent="0" algn="l" defTabSz="913943" rtl="0" eaLnBrk="1" fontAlgn="base" latinLnBrk="0" hangingPunct="1">
              <a:lnSpc>
                <a:spcPct val="100000"/>
              </a:lnSpc>
              <a:spcBef>
                <a:spcPct val="0"/>
              </a:spcBef>
              <a:spcAft>
                <a:spcPct val="0"/>
              </a:spcAft>
              <a:buClrTx/>
              <a:buSzTx/>
              <a:buFontTx/>
              <a:buNone/>
              <a:tabLst/>
              <a:defRPr/>
            </a:pPr>
            <a:r>
              <a:rPr lang="en-US" noProof="0" dirty="0"/>
              <a:t>Click the style sheet to edit the title</a:t>
            </a:r>
            <a:endParaRPr kumimoji="0" lang="de-DE" sz="1999" b="1" i="0" u="none" strike="noStrike" kern="0" cap="none" spc="0" normalizeH="0" baseline="0" noProof="0" dirty="0">
              <a:ln>
                <a:noFill/>
              </a:ln>
              <a:solidFill>
                <a:srgbClr val="000000"/>
              </a:solidFill>
              <a:effectLst/>
              <a:uLnTx/>
              <a:uFillTx/>
              <a:latin typeface="Arial" pitchFamily="34" charset="0"/>
              <a:ea typeface="+mj-ea"/>
              <a:cs typeface="Arial" pitchFamily="34" charset="0"/>
            </a:endParaRPr>
          </a:p>
        </p:txBody>
      </p:sp>
      <p:grpSp>
        <p:nvGrpSpPr>
          <p:cNvPr id="5" name="Group 33"/>
          <p:cNvGrpSpPr>
            <a:grpSpLocks noChangeAspect="1"/>
          </p:cNvGrpSpPr>
          <p:nvPr userDrawn="1"/>
        </p:nvGrpSpPr>
        <p:grpSpPr bwMode="auto">
          <a:xfrm>
            <a:off x="9550189" y="323850"/>
            <a:ext cx="2157876" cy="914400"/>
            <a:chOff x="6019" y="204"/>
            <a:chExt cx="1360" cy="576"/>
          </a:xfrm>
        </p:grpSpPr>
        <p:sp>
          <p:nvSpPr>
            <p:cNvPr id="6"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7"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8"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9"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0"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1"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2"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3"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4"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5"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6"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7"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8"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9"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0"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1"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2"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3"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4"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5"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6"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7"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8"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9"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30"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31"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32"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grpSp>
    </p:spTree>
    <p:custDataLst>
      <p:custData r:id="rId1"/>
    </p:custDataLst>
    <p:extLst>
      <p:ext uri="{BB962C8B-B14F-4D97-AF65-F5344CB8AC3E}">
        <p14:creationId xmlns:p14="http://schemas.microsoft.com/office/powerpoint/2010/main" val="113009146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One object (large)" type="obj">
  <p:cSld name="1_One object (large)">
    <p:spTree>
      <p:nvGrpSpPr>
        <p:cNvPr id="1" name=""/>
        <p:cNvGrpSpPr/>
        <p:nvPr/>
      </p:nvGrpSpPr>
      <p:grpSpPr>
        <a:xfrm>
          <a:off x="0" y="0"/>
          <a:ext cx="0" cy="0"/>
          <a:chOff x="0" y="0"/>
          <a:chExt cx="0" cy="0"/>
        </a:xfrm>
      </p:grpSpPr>
      <p:sp>
        <p:nvSpPr>
          <p:cNvPr id="2" name="cdtTitle 1 Id2"/>
          <p:cNvSpPr>
            <a:spLocks noGrp="1"/>
          </p:cNvSpPr>
          <p:nvPr>
            <p:ph type="title" hasCustomPrompt="1"/>
            <p:custDataLst>
              <p:tags r:id="rId2"/>
            </p:custDataLst>
          </p:nvPr>
        </p:nvSpPr>
        <p:spPr>
          <a:xfrm>
            <a:off x="0" y="-1"/>
            <a:ext cx="12192000" cy="1440000"/>
          </a:xfrm>
        </p:spPr>
        <p:txBody>
          <a:bodyPr/>
          <a:lstStyle/>
          <a:p>
            <a:r>
              <a:rPr lang="en-US" noProof="0" dirty="0"/>
              <a:t>Click the style sheet to edit the title</a:t>
            </a:r>
            <a:endParaRPr lang="de-DE" noProof="0" dirty="0"/>
          </a:p>
        </p:txBody>
      </p:sp>
      <p:sp>
        <p:nvSpPr>
          <p:cNvPr id="3" name="cdtContent Placeholder 2 Id3"/>
          <p:cNvSpPr>
            <a:spLocks noGrp="1"/>
          </p:cNvSpPr>
          <p:nvPr>
            <p:ph idx="1" hasCustomPrompt="1"/>
            <p:custDataLst>
              <p:tags r:id="rId3"/>
            </p:custDataLst>
          </p:nvPr>
        </p:nvSpPr>
        <p:spPr>
          <a:xfrm>
            <a:off x="626736" y="1449389"/>
            <a:ext cx="8204689" cy="4751386"/>
          </a:xfrm>
        </p:spPr>
        <p:txBody>
          <a:bodyPr/>
          <a:lstStyle>
            <a:lvl1pPr>
              <a:buFont typeface="Arial" pitchFamily="34" charset="0"/>
              <a:buNone/>
              <a:defRPr/>
            </a:lvl1pPr>
            <a:lvl2pPr marL="179298" indent="-177711">
              <a:buFont typeface="Wingdings" panose="05000000000000000000" pitchFamily="2" charset="2"/>
              <a:buChar char="§"/>
              <a:defRPr baseline="0"/>
            </a:lvl2pPr>
            <a:lvl3pPr marL="358596" indent="-177711">
              <a:buFont typeface="Wingdings" panose="05000000000000000000" pitchFamily="2" charset="2"/>
              <a:buChar char="§"/>
              <a:defRPr baseline="0"/>
            </a:lvl3pPr>
            <a:lvl4pPr marL="537894" indent="-177711">
              <a:buFont typeface="Wingdings" panose="05000000000000000000" pitchFamily="2" charset="2"/>
              <a:buChar char="§"/>
              <a:defRPr baseline="0"/>
            </a:lvl4pPr>
            <a:lvl5pPr marL="717191" indent="-177711">
              <a:buFont typeface="Wingdings" panose="05000000000000000000" pitchFamily="2" charset="2"/>
              <a:buChar char="§"/>
              <a:defRPr baseline="0"/>
            </a:lvl5pPr>
          </a:lstStyle>
          <a:p>
            <a:pPr lvl="0"/>
            <a:r>
              <a:rPr lang="en-US" dirty="0"/>
              <a:t>Click the style sheet to edit the copy</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6" name="Group 33"/>
          <p:cNvGrpSpPr>
            <a:grpSpLocks noChangeAspect="1"/>
          </p:cNvGrpSpPr>
          <p:nvPr userDrawn="1"/>
        </p:nvGrpSpPr>
        <p:grpSpPr bwMode="auto">
          <a:xfrm>
            <a:off x="9550189" y="323850"/>
            <a:ext cx="2157876" cy="914400"/>
            <a:chOff x="6019" y="204"/>
            <a:chExt cx="1360" cy="576"/>
          </a:xfrm>
        </p:grpSpPr>
        <p:sp>
          <p:nvSpPr>
            <p:cNvPr id="7" name="AutoShape 32"/>
            <p:cNvSpPr>
              <a:spLocks noChangeAspect="1" noChangeArrowheads="1" noTextEdit="1"/>
            </p:cNvSpPr>
            <p:nvPr userDrawn="1"/>
          </p:nvSpPr>
          <p:spPr bwMode="auto">
            <a:xfrm>
              <a:off x="6019" y="204"/>
              <a:ext cx="1360"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8" name="Rectangle 34"/>
            <p:cNvSpPr>
              <a:spLocks noChangeArrowheads="1"/>
            </p:cNvSpPr>
            <p:nvPr userDrawn="1"/>
          </p:nvSpPr>
          <p:spPr bwMode="auto">
            <a:xfrm>
              <a:off x="6019" y="204"/>
              <a:ext cx="1360" cy="57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9" name="Freeform 35"/>
            <p:cNvSpPr>
              <a:spLocks/>
            </p:cNvSpPr>
            <p:nvPr userDrawn="1"/>
          </p:nvSpPr>
          <p:spPr bwMode="auto">
            <a:xfrm>
              <a:off x="6765" y="562"/>
              <a:ext cx="98" cy="156"/>
            </a:xfrm>
            <a:custGeom>
              <a:avLst/>
              <a:gdLst>
                <a:gd name="T0" fmla="*/ 705 w 1179"/>
                <a:gd name="T1" fmla="*/ 998 h 1866"/>
                <a:gd name="T2" fmla="*/ 588 w 1179"/>
                <a:gd name="T3" fmla="*/ 1280 h 1866"/>
                <a:gd name="T4" fmla="*/ 458 w 1179"/>
                <a:gd name="T5" fmla="*/ 1547 h 1866"/>
                <a:gd name="T6" fmla="*/ 277 w 1179"/>
                <a:gd name="T7" fmla="*/ 1824 h 1866"/>
                <a:gd name="T8" fmla="*/ 270 w 1179"/>
                <a:gd name="T9" fmla="*/ 1854 h 1866"/>
                <a:gd name="T10" fmla="*/ 295 w 1179"/>
                <a:gd name="T11" fmla="*/ 1866 h 1866"/>
                <a:gd name="T12" fmla="*/ 363 w 1179"/>
                <a:gd name="T13" fmla="*/ 1834 h 1866"/>
                <a:gd name="T14" fmla="*/ 442 w 1179"/>
                <a:gd name="T15" fmla="*/ 1757 h 1866"/>
                <a:gd name="T16" fmla="*/ 627 w 1179"/>
                <a:gd name="T17" fmla="*/ 1494 h 1866"/>
                <a:gd name="T18" fmla="*/ 832 w 1179"/>
                <a:gd name="T19" fmla="*/ 1110 h 1866"/>
                <a:gd name="T20" fmla="*/ 972 w 1179"/>
                <a:gd name="T21" fmla="*/ 852 h 1866"/>
                <a:gd name="T22" fmla="*/ 1080 w 1179"/>
                <a:gd name="T23" fmla="*/ 704 h 1866"/>
                <a:gd name="T24" fmla="*/ 1172 w 1179"/>
                <a:gd name="T25" fmla="*/ 601 h 1866"/>
                <a:gd name="T26" fmla="*/ 1178 w 1179"/>
                <a:gd name="T27" fmla="*/ 575 h 1866"/>
                <a:gd name="T28" fmla="*/ 1137 w 1179"/>
                <a:gd name="T29" fmla="*/ 537 h 1866"/>
                <a:gd name="T30" fmla="*/ 1056 w 1179"/>
                <a:gd name="T31" fmla="*/ 517 h 1866"/>
                <a:gd name="T32" fmla="*/ 1012 w 1179"/>
                <a:gd name="T33" fmla="*/ 528 h 1866"/>
                <a:gd name="T34" fmla="*/ 948 w 1179"/>
                <a:gd name="T35" fmla="*/ 593 h 1866"/>
                <a:gd name="T36" fmla="*/ 778 w 1179"/>
                <a:gd name="T37" fmla="*/ 756 h 1866"/>
                <a:gd name="T38" fmla="*/ 713 w 1179"/>
                <a:gd name="T39" fmla="*/ 790 h 1866"/>
                <a:gd name="T40" fmla="*/ 676 w 1179"/>
                <a:gd name="T41" fmla="*/ 779 h 1866"/>
                <a:gd name="T42" fmla="*/ 653 w 1179"/>
                <a:gd name="T43" fmla="*/ 730 h 1866"/>
                <a:gd name="T44" fmla="*/ 655 w 1179"/>
                <a:gd name="T45" fmla="*/ 622 h 1866"/>
                <a:gd name="T46" fmla="*/ 650 w 1179"/>
                <a:gd name="T47" fmla="*/ 579 h 1866"/>
                <a:gd name="T48" fmla="*/ 622 w 1179"/>
                <a:gd name="T49" fmla="*/ 552 h 1866"/>
                <a:gd name="T50" fmla="*/ 493 w 1179"/>
                <a:gd name="T51" fmla="*/ 530 h 1866"/>
                <a:gd name="T52" fmla="*/ 272 w 1179"/>
                <a:gd name="T53" fmla="*/ 517 h 1866"/>
                <a:gd name="T54" fmla="*/ 340 w 1179"/>
                <a:gd name="T55" fmla="*/ 248 h 1866"/>
                <a:gd name="T56" fmla="*/ 393 w 1179"/>
                <a:gd name="T57" fmla="*/ 122 h 1866"/>
                <a:gd name="T58" fmla="*/ 426 w 1179"/>
                <a:gd name="T59" fmla="*/ 45 h 1866"/>
                <a:gd name="T60" fmla="*/ 397 w 1179"/>
                <a:gd name="T61" fmla="*/ 16 h 1866"/>
                <a:gd name="T62" fmla="*/ 333 w 1179"/>
                <a:gd name="T63" fmla="*/ 0 h 1866"/>
                <a:gd name="T64" fmla="*/ 279 w 1179"/>
                <a:gd name="T65" fmla="*/ 11 h 1866"/>
                <a:gd name="T66" fmla="*/ 240 w 1179"/>
                <a:gd name="T67" fmla="*/ 61 h 1866"/>
                <a:gd name="T68" fmla="*/ 150 w 1179"/>
                <a:gd name="T69" fmla="*/ 340 h 1866"/>
                <a:gd name="T70" fmla="*/ 89 w 1179"/>
                <a:gd name="T71" fmla="*/ 509 h 1866"/>
                <a:gd name="T72" fmla="*/ 11 w 1179"/>
                <a:gd name="T73" fmla="*/ 514 h 1866"/>
                <a:gd name="T74" fmla="*/ 0 w 1179"/>
                <a:gd name="T75" fmla="*/ 531 h 1866"/>
                <a:gd name="T76" fmla="*/ 25 w 1179"/>
                <a:gd name="T77" fmla="*/ 588 h 1866"/>
                <a:gd name="T78" fmla="*/ 69 w 1179"/>
                <a:gd name="T79" fmla="*/ 627 h 1866"/>
                <a:gd name="T80" fmla="*/ 100 w 1179"/>
                <a:gd name="T81" fmla="*/ 669 h 1866"/>
                <a:gd name="T82" fmla="*/ 102 w 1179"/>
                <a:gd name="T83" fmla="*/ 825 h 1866"/>
                <a:gd name="T84" fmla="*/ 141 w 1179"/>
                <a:gd name="T85" fmla="*/ 948 h 1866"/>
                <a:gd name="T86" fmla="*/ 220 w 1179"/>
                <a:gd name="T87" fmla="*/ 1011 h 1866"/>
                <a:gd name="T88" fmla="*/ 273 w 1179"/>
                <a:gd name="T89" fmla="*/ 1012 h 1866"/>
                <a:gd name="T90" fmla="*/ 282 w 1179"/>
                <a:gd name="T91" fmla="*/ 989 h 1866"/>
                <a:gd name="T92" fmla="*/ 251 w 1179"/>
                <a:gd name="T93" fmla="*/ 888 h 1866"/>
                <a:gd name="T94" fmla="*/ 244 w 1179"/>
                <a:gd name="T95" fmla="*/ 748 h 1866"/>
                <a:gd name="T96" fmla="*/ 282 w 1179"/>
                <a:gd name="T97" fmla="*/ 625 h 1866"/>
                <a:gd name="T98" fmla="*/ 428 w 1179"/>
                <a:gd name="T99" fmla="*/ 608 h 1866"/>
                <a:gd name="T100" fmla="*/ 477 w 1179"/>
                <a:gd name="T101" fmla="*/ 617 h 1866"/>
                <a:gd name="T102" fmla="*/ 483 w 1179"/>
                <a:gd name="T103" fmla="*/ 645 h 1866"/>
                <a:gd name="T104" fmla="*/ 495 w 1179"/>
                <a:gd name="T105" fmla="*/ 741 h 1866"/>
                <a:gd name="T106" fmla="*/ 539 w 1179"/>
                <a:gd name="T107" fmla="*/ 816 h 1866"/>
                <a:gd name="T108" fmla="*/ 600 w 1179"/>
                <a:gd name="T109" fmla="*/ 858 h 1866"/>
                <a:gd name="T110" fmla="*/ 682 w 1179"/>
                <a:gd name="T111" fmla="*/ 882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79" h="1866">
                  <a:moveTo>
                    <a:pt x="756" y="885"/>
                  </a:moveTo>
                  <a:lnTo>
                    <a:pt x="752" y="893"/>
                  </a:lnTo>
                  <a:lnTo>
                    <a:pt x="741" y="919"/>
                  </a:lnTo>
                  <a:lnTo>
                    <a:pt x="729" y="944"/>
                  </a:lnTo>
                  <a:lnTo>
                    <a:pt x="718" y="971"/>
                  </a:lnTo>
                  <a:lnTo>
                    <a:pt x="705" y="998"/>
                  </a:lnTo>
                  <a:lnTo>
                    <a:pt x="694" y="1026"/>
                  </a:lnTo>
                  <a:lnTo>
                    <a:pt x="682" y="1054"/>
                  </a:lnTo>
                  <a:lnTo>
                    <a:pt x="671" y="1083"/>
                  </a:lnTo>
                  <a:lnTo>
                    <a:pt x="659" y="1112"/>
                  </a:lnTo>
                  <a:lnTo>
                    <a:pt x="624" y="1194"/>
                  </a:lnTo>
                  <a:lnTo>
                    <a:pt x="588" y="1280"/>
                  </a:lnTo>
                  <a:lnTo>
                    <a:pt x="569" y="1324"/>
                  </a:lnTo>
                  <a:lnTo>
                    <a:pt x="548" y="1368"/>
                  </a:lnTo>
                  <a:lnTo>
                    <a:pt x="527" y="1412"/>
                  </a:lnTo>
                  <a:lnTo>
                    <a:pt x="506" y="1457"/>
                  </a:lnTo>
                  <a:lnTo>
                    <a:pt x="482" y="1501"/>
                  </a:lnTo>
                  <a:lnTo>
                    <a:pt x="458" y="1547"/>
                  </a:lnTo>
                  <a:lnTo>
                    <a:pt x="432" y="1593"/>
                  </a:lnTo>
                  <a:lnTo>
                    <a:pt x="405" y="1639"/>
                  </a:lnTo>
                  <a:lnTo>
                    <a:pt x="375" y="1685"/>
                  </a:lnTo>
                  <a:lnTo>
                    <a:pt x="344" y="1731"/>
                  </a:lnTo>
                  <a:lnTo>
                    <a:pt x="312" y="1778"/>
                  </a:lnTo>
                  <a:lnTo>
                    <a:pt x="277" y="1824"/>
                  </a:lnTo>
                  <a:lnTo>
                    <a:pt x="272" y="1832"/>
                  </a:lnTo>
                  <a:lnTo>
                    <a:pt x="269" y="1840"/>
                  </a:lnTo>
                  <a:lnTo>
                    <a:pt x="269" y="1844"/>
                  </a:lnTo>
                  <a:lnTo>
                    <a:pt x="268" y="1847"/>
                  </a:lnTo>
                  <a:lnTo>
                    <a:pt x="269" y="1851"/>
                  </a:lnTo>
                  <a:lnTo>
                    <a:pt x="270" y="1854"/>
                  </a:lnTo>
                  <a:lnTo>
                    <a:pt x="272" y="1857"/>
                  </a:lnTo>
                  <a:lnTo>
                    <a:pt x="274" y="1859"/>
                  </a:lnTo>
                  <a:lnTo>
                    <a:pt x="276" y="1861"/>
                  </a:lnTo>
                  <a:lnTo>
                    <a:pt x="279" y="1863"/>
                  </a:lnTo>
                  <a:lnTo>
                    <a:pt x="287" y="1865"/>
                  </a:lnTo>
                  <a:lnTo>
                    <a:pt x="295" y="1866"/>
                  </a:lnTo>
                  <a:lnTo>
                    <a:pt x="306" y="1865"/>
                  </a:lnTo>
                  <a:lnTo>
                    <a:pt x="317" y="1862"/>
                  </a:lnTo>
                  <a:lnTo>
                    <a:pt x="327" y="1858"/>
                  </a:lnTo>
                  <a:lnTo>
                    <a:pt x="338" y="1852"/>
                  </a:lnTo>
                  <a:lnTo>
                    <a:pt x="350" y="1843"/>
                  </a:lnTo>
                  <a:lnTo>
                    <a:pt x="363" y="1834"/>
                  </a:lnTo>
                  <a:lnTo>
                    <a:pt x="375" y="1824"/>
                  </a:lnTo>
                  <a:lnTo>
                    <a:pt x="388" y="1813"/>
                  </a:lnTo>
                  <a:lnTo>
                    <a:pt x="401" y="1801"/>
                  </a:lnTo>
                  <a:lnTo>
                    <a:pt x="415" y="1786"/>
                  </a:lnTo>
                  <a:lnTo>
                    <a:pt x="429" y="1772"/>
                  </a:lnTo>
                  <a:lnTo>
                    <a:pt x="442" y="1757"/>
                  </a:lnTo>
                  <a:lnTo>
                    <a:pt x="471" y="1722"/>
                  </a:lnTo>
                  <a:lnTo>
                    <a:pt x="500" y="1684"/>
                  </a:lnTo>
                  <a:lnTo>
                    <a:pt x="531" y="1642"/>
                  </a:lnTo>
                  <a:lnTo>
                    <a:pt x="563" y="1596"/>
                  </a:lnTo>
                  <a:lnTo>
                    <a:pt x="594" y="1547"/>
                  </a:lnTo>
                  <a:lnTo>
                    <a:pt x="627" y="1494"/>
                  </a:lnTo>
                  <a:lnTo>
                    <a:pt x="661" y="1438"/>
                  </a:lnTo>
                  <a:lnTo>
                    <a:pt x="694" y="1379"/>
                  </a:lnTo>
                  <a:lnTo>
                    <a:pt x="728" y="1317"/>
                  </a:lnTo>
                  <a:lnTo>
                    <a:pt x="763" y="1250"/>
                  </a:lnTo>
                  <a:lnTo>
                    <a:pt x="797" y="1181"/>
                  </a:lnTo>
                  <a:lnTo>
                    <a:pt x="832" y="1110"/>
                  </a:lnTo>
                  <a:lnTo>
                    <a:pt x="858" y="1056"/>
                  </a:lnTo>
                  <a:lnTo>
                    <a:pt x="883" y="1008"/>
                  </a:lnTo>
                  <a:lnTo>
                    <a:pt x="906" y="964"/>
                  </a:lnTo>
                  <a:lnTo>
                    <a:pt x="930" y="923"/>
                  </a:lnTo>
                  <a:lnTo>
                    <a:pt x="951" y="886"/>
                  </a:lnTo>
                  <a:lnTo>
                    <a:pt x="972" y="852"/>
                  </a:lnTo>
                  <a:lnTo>
                    <a:pt x="992" y="822"/>
                  </a:lnTo>
                  <a:lnTo>
                    <a:pt x="1010" y="793"/>
                  </a:lnTo>
                  <a:lnTo>
                    <a:pt x="1029" y="768"/>
                  </a:lnTo>
                  <a:lnTo>
                    <a:pt x="1047" y="745"/>
                  </a:lnTo>
                  <a:lnTo>
                    <a:pt x="1063" y="724"/>
                  </a:lnTo>
                  <a:lnTo>
                    <a:pt x="1080" y="704"/>
                  </a:lnTo>
                  <a:lnTo>
                    <a:pt x="1110" y="670"/>
                  </a:lnTo>
                  <a:lnTo>
                    <a:pt x="1139" y="639"/>
                  </a:lnTo>
                  <a:lnTo>
                    <a:pt x="1152" y="625"/>
                  </a:lnTo>
                  <a:lnTo>
                    <a:pt x="1164" y="610"/>
                  </a:lnTo>
                  <a:lnTo>
                    <a:pt x="1169" y="606"/>
                  </a:lnTo>
                  <a:lnTo>
                    <a:pt x="1172" y="601"/>
                  </a:lnTo>
                  <a:lnTo>
                    <a:pt x="1175" y="597"/>
                  </a:lnTo>
                  <a:lnTo>
                    <a:pt x="1177" y="592"/>
                  </a:lnTo>
                  <a:lnTo>
                    <a:pt x="1178" y="588"/>
                  </a:lnTo>
                  <a:lnTo>
                    <a:pt x="1179" y="584"/>
                  </a:lnTo>
                  <a:lnTo>
                    <a:pt x="1179" y="580"/>
                  </a:lnTo>
                  <a:lnTo>
                    <a:pt x="1178" y="575"/>
                  </a:lnTo>
                  <a:lnTo>
                    <a:pt x="1175" y="569"/>
                  </a:lnTo>
                  <a:lnTo>
                    <a:pt x="1171" y="561"/>
                  </a:lnTo>
                  <a:lnTo>
                    <a:pt x="1164" y="555"/>
                  </a:lnTo>
                  <a:lnTo>
                    <a:pt x="1157" y="549"/>
                  </a:lnTo>
                  <a:lnTo>
                    <a:pt x="1148" y="543"/>
                  </a:lnTo>
                  <a:lnTo>
                    <a:pt x="1137" y="537"/>
                  </a:lnTo>
                  <a:lnTo>
                    <a:pt x="1125" y="532"/>
                  </a:lnTo>
                  <a:lnTo>
                    <a:pt x="1111" y="527"/>
                  </a:lnTo>
                  <a:lnTo>
                    <a:pt x="1092" y="521"/>
                  </a:lnTo>
                  <a:lnTo>
                    <a:pt x="1074" y="518"/>
                  </a:lnTo>
                  <a:lnTo>
                    <a:pt x="1065" y="517"/>
                  </a:lnTo>
                  <a:lnTo>
                    <a:pt x="1056" y="517"/>
                  </a:lnTo>
                  <a:lnTo>
                    <a:pt x="1049" y="517"/>
                  </a:lnTo>
                  <a:lnTo>
                    <a:pt x="1041" y="518"/>
                  </a:lnTo>
                  <a:lnTo>
                    <a:pt x="1034" y="520"/>
                  </a:lnTo>
                  <a:lnTo>
                    <a:pt x="1027" y="522"/>
                  </a:lnTo>
                  <a:lnTo>
                    <a:pt x="1020" y="525"/>
                  </a:lnTo>
                  <a:lnTo>
                    <a:pt x="1012" y="528"/>
                  </a:lnTo>
                  <a:lnTo>
                    <a:pt x="1006" y="532"/>
                  </a:lnTo>
                  <a:lnTo>
                    <a:pt x="1000" y="537"/>
                  </a:lnTo>
                  <a:lnTo>
                    <a:pt x="994" y="542"/>
                  </a:lnTo>
                  <a:lnTo>
                    <a:pt x="989" y="548"/>
                  </a:lnTo>
                  <a:lnTo>
                    <a:pt x="985" y="551"/>
                  </a:lnTo>
                  <a:lnTo>
                    <a:pt x="948" y="593"/>
                  </a:lnTo>
                  <a:lnTo>
                    <a:pt x="909" y="635"/>
                  </a:lnTo>
                  <a:lnTo>
                    <a:pt x="870" y="675"/>
                  </a:lnTo>
                  <a:lnTo>
                    <a:pt x="832" y="711"/>
                  </a:lnTo>
                  <a:lnTo>
                    <a:pt x="813" y="728"/>
                  </a:lnTo>
                  <a:lnTo>
                    <a:pt x="795" y="743"/>
                  </a:lnTo>
                  <a:lnTo>
                    <a:pt x="778" y="756"/>
                  </a:lnTo>
                  <a:lnTo>
                    <a:pt x="762" y="769"/>
                  </a:lnTo>
                  <a:lnTo>
                    <a:pt x="746" y="778"/>
                  </a:lnTo>
                  <a:lnTo>
                    <a:pt x="732" y="784"/>
                  </a:lnTo>
                  <a:lnTo>
                    <a:pt x="725" y="787"/>
                  </a:lnTo>
                  <a:lnTo>
                    <a:pt x="719" y="789"/>
                  </a:lnTo>
                  <a:lnTo>
                    <a:pt x="713" y="790"/>
                  </a:lnTo>
                  <a:lnTo>
                    <a:pt x="707" y="790"/>
                  </a:lnTo>
                  <a:lnTo>
                    <a:pt x="697" y="789"/>
                  </a:lnTo>
                  <a:lnTo>
                    <a:pt x="688" y="786"/>
                  </a:lnTo>
                  <a:lnTo>
                    <a:pt x="684" y="784"/>
                  </a:lnTo>
                  <a:lnTo>
                    <a:pt x="680" y="782"/>
                  </a:lnTo>
                  <a:lnTo>
                    <a:pt x="676" y="779"/>
                  </a:lnTo>
                  <a:lnTo>
                    <a:pt x="673" y="776"/>
                  </a:lnTo>
                  <a:lnTo>
                    <a:pt x="668" y="770"/>
                  </a:lnTo>
                  <a:lnTo>
                    <a:pt x="664" y="762"/>
                  </a:lnTo>
                  <a:lnTo>
                    <a:pt x="661" y="755"/>
                  </a:lnTo>
                  <a:lnTo>
                    <a:pt x="657" y="747"/>
                  </a:lnTo>
                  <a:lnTo>
                    <a:pt x="653" y="730"/>
                  </a:lnTo>
                  <a:lnTo>
                    <a:pt x="651" y="711"/>
                  </a:lnTo>
                  <a:lnTo>
                    <a:pt x="651" y="692"/>
                  </a:lnTo>
                  <a:lnTo>
                    <a:pt x="651" y="672"/>
                  </a:lnTo>
                  <a:lnTo>
                    <a:pt x="653" y="652"/>
                  </a:lnTo>
                  <a:lnTo>
                    <a:pt x="654" y="634"/>
                  </a:lnTo>
                  <a:lnTo>
                    <a:pt x="655" y="622"/>
                  </a:lnTo>
                  <a:lnTo>
                    <a:pt x="656" y="611"/>
                  </a:lnTo>
                  <a:lnTo>
                    <a:pt x="656" y="604"/>
                  </a:lnTo>
                  <a:lnTo>
                    <a:pt x="655" y="597"/>
                  </a:lnTo>
                  <a:lnTo>
                    <a:pt x="654" y="591"/>
                  </a:lnTo>
                  <a:lnTo>
                    <a:pt x="652" y="585"/>
                  </a:lnTo>
                  <a:lnTo>
                    <a:pt x="650" y="579"/>
                  </a:lnTo>
                  <a:lnTo>
                    <a:pt x="647" y="574"/>
                  </a:lnTo>
                  <a:lnTo>
                    <a:pt x="644" y="569"/>
                  </a:lnTo>
                  <a:lnTo>
                    <a:pt x="639" y="564"/>
                  </a:lnTo>
                  <a:lnTo>
                    <a:pt x="634" y="560"/>
                  </a:lnTo>
                  <a:lnTo>
                    <a:pt x="629" y="556"/>
                  </a:lnTo>
                  <a:lnTo>
                    <a:pt x="622" y="552"/>
                  </a:lnTo>
                  <a:lnTo>
                    <a:pt x="615" y="549"/>
                  </a:lnTo>
                  <a:lnTo>
                    <a:pt x="598" y="544"/>
                  </a:lnTo>
                  <a:lnTo>
                    <a:pt x="578" y="539"/>
                  </a:lnTo>
                  <a:lnTo>
                    <a:pt x="558" y="537"/>
                  </a:lnTo>
                  <a:lnTo>
                    <a:pt x="529" y="533"/>
                  </a:lnTo>
                  <a:lnTo>
                    <a:pt x="493" y="530"/>
                  </a:lnTo>
                  <a:lnTo>
                    <a:pt x="453" y="527"/>
                  </a:lnTo>
                  <a:lnTo>
                    <a:pt x="411" y="525"/>
                  </a:lnTo>
                  <a:lnTo>
                    <a:pt x="366" y="522"/>
                  </a:lnTo>
                  <a:lnTo>
                    <a:pt x="322" y="520"/>
                  </a:lnTo>
                  <a:lnTo>
                    <a:pt x="279" y="517"/>
                  </a:lnTo>
                  <a:lnTo>
                    <a:pt x="272" y="517"/>
                  </a:lnTo>
                  <a:lnTo>
                    <a:pt x="273" y="510"/>
                  </a:lnTo>
                  <a:lnTo>
                    <a:pt x="286" y="448"/>
                  </a:lnTo>
                  <a:lnTo>
                    <a:pt x="300" y="387"/>
                  </a:lnTo>
                  <a:lnTo>
                    <a:pt x="316" y="329"/>
                  </a:lnTo>
                  <a:lnTo>
                    <a:pt x="332" y="274"/>
                  </a:lnTo>
                  <a:lnTo>
                    <a:pt x="340" y="248"/>
                  </a:lnTo>
                  <a:lnTo>
                    <a:pt x="349" y="223"/>
                  </a:lnTo>
                  <a:lnTo>
                    <a:pt x="358" y="199"/>
                  </a:lnTo>
                  <a:lnTo>
                    <a:pt x="367" y="178"/>
                  </a:lnTo>
                  <a:lnTo>
                    <a:pt x="376" y="157"/>
                  </a:lnTo>
                  <a:lnTo>
                    <a:pt x="384" y="138"/>
                  </a:lnTo>
                  <a:lnTo>
                    <a:pt x="393" y="122"/>
                  </a:lnTo>
                  <a:lnTo>
                    <a:pt x="401" y="106"/>
                  </a:lnTo>
                  <a:lnTo>
                    <a:pt x="413" y="86"/>
                  </a:lnTo>
                  <a:lnTo>
                    <a:pt x="422" y="67"/>
                  </a:lnTo>
                  <a:lnTo>
                    <a:pt x="425" y="59"/>
                  </a:lnTo>
                  <a:lnTo>
                    <a:pt x="426" y="52"/>
                  </a:lnTo>
                  <a:lnTo>
                    <a:pt x="426" y="45"/>
                  </a:lnTo>
                  <a:lnTo>
                    <a:pt x="424" y="39"/>
                  </a:lnTo>
                  <a:lnTo>
                    <a:pt x="422" y="34"/>
                  </a:lnTo>
                  <a:lnTo>
                    <a:pt x="418" y="30"/>
                  </a:lnTo>
                  <a:lnTo>
                    <a:pt x="413" y="25"/>
                  </a:lnTo>
                  <a:lnTo>
                    <a:pt x="406" y="20"/>
                  </a:lnTo>
                  <a:lnTo>
                    <a:pt x="397" y="16"/>
                  </a:lnTo>
                  <a:lnTo>
                    <a:pt x="387" y="13"/>
                  </a:lnTo>
                  <a:lnTo>
                    <a:pt x="376" y="9"/>
                  </a:lnTo>
                  <a:lnTo>
                    <a:pt x="364" y="6"/>
                  </a:lnTo>
                  <a:lnTo>
                    <a:pt x="353" y="3"/>
                  </a:lnTo>
                  <a:lnTo>
                    <a:pt x="342" y="1"/>
                  </a:lnTo>
                  <a:lnTo>
                    <a:pt x="333" y="0"/>
                  </a:lnTo>
                  <a:lnTo>
                    <a:pt x="323" y="0"/>
                  </a:lnTo>
                  <a:lnTo>
                    <a:pt x="313" y="1"/>
                  </a:lnTo>
                  <a:lnTo>
                    <a:pt x="304" y="2"/>
                  </a:lnTo>
                  <a:lnTo>
                    <a:pt x="294" y="4"/>
                  </a:lnTo>
                  <a:lnTo>
                    <a:pt x="286" y="7"/>
                  </a:lnTo>
                  <a:lnTo>
                    <a:pt x="279" y="11"/>
                  </a:lnTo>
                  <a:lnTo>
                    <a:pt x="273" y="15"/>
                  </a:lnTo>
                  <a:lnTo>
                    <a:pt x="267" y="20"/>
                  </a:lnTo>
                  <a:lnTo>
                    <a:pt x="262" y="26"/>
                  </a:lnTo>
                  <a:lnTo>
                    <a:pt x="253" y="37"/>
                  </a:lnTo>
                  <a:lnTo>
                    <a:pt x="245" y="49"/>
                  </a:lnTo>
                  <a:lnTo>
                    <a:pt x="240" y="61"/>
                  </a:lnTo>
                  <a:lnTo>
                    <a:pt x="235" y="73"/>
                  </a:lnTo>
                  <a:lnTo>
                    <a:pt x="216" y="124"/>
                  </a:lnTo>
                  <a:lnTo>
                    <a:pt x="197" y="177"/>
                  </a:lnTo>
                  <a:lnTo>
                    <a:pt x="180" y="230"/>
                  </a:lnTo>
                  <a:lnTo>
                    <a:pt x="164" y="285"/>
                  </a:lnTo>
                  <a:lnTo>
                    <a:pt x="150" y="340"/>
                  </a:lnTo>
                  <a:lnTo>
                    <a:pt x="137" y="395"/>
                  </a:lnTo>
                  <a:lnTo>
                    <a:pt x="126" y="450"/>
                  </a:lnTo>
                  <a:lnTo>
                    <a:pt x="117" y="505"/>
                  </a:lnTo>
                  <a:lnTo>
                    <a:pt x="116" y="510"/>
                  </a:lnTo>
                  <a:lnTo>
                    <a:pt x="111" y="510"/>
                  </a:lnTo>
                  <a:lnTo>
                    <a:pt x="89" y="509"/>
                  </a:lnTo>
                  <a:lnTo>
                    <a:pt x="71" y="509"/>
                  </a:lnTo>
                  <a:lnTo>
                    <a:pt x="54" y="509"/>
                  </a:lnTo>
                  <a:lnTo>
                    <a:pt x="39" y="509"/>
                  </a:lnTo>
                  <a:lnTo>
                    <a:pt x="26" y="510"/>
                  </a:lnTo>
                  <a:lnTo>
                    <a:pt x="16" y="512"/>
                  </a:lnTo>
                  <a:lnTo>
                    <a:pt x="11" y="514"/>
                  </a:lnTo>
                  <a:lnTo>
                    <a:pt x="8" y="517"/>
                  </a:lnTo>
                  <a:lnTo>
                    <a:pt x="5" y="519"/>
                  </a:lnTo>
                  <a:lnTo>
                    <a:pt x="3" y="522"/>
                  </a:lnTo>
                  <a:lnTo>
                    <a:pt x="2" y="524"/>
                  </a:lnTo>
                  <a:lnTo>
                    <a:pt x="1" y="528"/>
                  </a:lnTo>
                  <a:lnTo>
                    <a:pt x="0" y="531"/>
                  </a:lnTo>
                  <a:lnTo>
                    <a:pt x="0" y="535"/>
                  </a:lnTo>
                  <a:lnTo>
                    <a:pt x="2" y="545"/>
                  </a:lnTo>
                  <a:lnTo>
                    <a:pt x="6" y="555"/>
                  </a:lnTo>
                  <a:lnTo>
                    <a:pt x="11" y="566"/>
                  </a:lnTo>
                  <a:lnTo>
                    <a:pt x="17" y="577"/>
                  </a:lnTo>
                  <a:lnTo>
                    <a:pt x="25" y="588"/>
                  </a:lnTo>
                  <a:lnTo>
                    <a:pt x="34" y="600"/>
                  </a:lnTo>
                  <a:lnTo>
                    <a:pt x="40" y="606"/>
                  </a:lnTo>
                  <a:lnTo>
                    <a:pt x="47" y="611"/>
                  </a:lnTo>
                  <a:lnTo>
                    <a:pt x="54" y="618"/>
                  </a:lnTo>
                  <a:lnTo>
                    <a:pt x="61" y="623"/>
                  </a:lnTo>
                  <a:lnTo>
                    <a:pt x="69" y="627"/>
                  </a:lnTo>
                  <a:lnTo>
                    <a:pt x="77" y="631"/>
                  </a:lnTo>
                  <a:lnTo>
                    <a:pt x="86" y="635"/>
                  </a:lnTo>
                  <a:lnTo>
                    <a:pt x="96" y="638"/>
                  </a:lnTo>
                  <a:lnTo>
                    <a:pt x="102" y="640"/>
                  </a:lnTo>
                  <a:lnTo>
                    <a:pt x="101" y="644"/>
                  </a:lnTo>
                  <a:lnTo>
                    <a:pt x="100" y="669"/>
                  </a:lnTo>
                  <a:lnTo>
                    <a:pt x="99" y="693"/>
                  </a:lnTo>
                  <a:lnTo>
                    <a:pt x="98" y="718"/>
                  </a:lnTo>
                  <a:lnTo>
                    <a:pt x="98" y="741"/>
                  </a:lnTo>
                  <a:lnTo>
                    <a:pt x="98" y="771"/>
                  </a:lnTo>
                  <a:lnTo>
                    <a:pt x="99" y="798"/>
                  </a:lnTo>
                  <a:lnTo>
                    <a:pt x="102" y="825"/>
                  </a:lnTo>
                  <a:lnTo>
                    <a:pt x="106" y="849"/>
                  </a:lnTo>
                  <a:lnTo>
                    <a:pt x="110" y="873"/>
                  </a:lnTo>
                  <a:lnTo>
                    <a:pt x="116" y="894"/>
                  </a:lnTo>
                  <a:lnTo>
                    <a:pt x="123" y="914"/>
                  </a:lnTo>
                  <a:lnTo>
                    <a:pt x="131" y="932"/>
                  </a:lnTo>
                  <a:lnTo>
                    <a:pt x="141" y="948"/>
                  </a:lnTo>
                  <a:lnTo>
                    <a:pt x="152" y="963"/>
                  </a:lnTo>
                  <a:lnTo>
                    <a:pt x="163" y="976"/>
                  </a:lnTo>
                  <a:lnTo>
                    <a:pt x="176" y="987"/>
                  </a:lnTo>
                  <a:lnTo>
                    <a:pt x="189" y="997"/>
                  </a:lnTo>
                  <a:lnTo>
                    <a:pt x="204" y="1004"/>
                  </a:lnTo>
                  <a:lnTo>
                    <a:pt x="220" y="1011"/>
                  </a:lnTo>
                  <a:lnTo>
                    <a:pt x="236" y="1016"/>
                  </a:lnTo>
                  <a:lnTo>
                    <a:pt x="242" y="1017"/>
                  </a:lnTo>
                  <a:lnTo>
                    <a:pt x="248" y="1017"/>
                  </a:lnTo>
                  <a:lnTo>
                    <a:pt x="259" y="1016"/>
                  </a:lnTo>
                  <a:lnTo>
                    <a:pt x="268" y="1014"/>
                  </a:lnTo>
                  <a:lnTo>
                    <a:pt x="273" y="1012"/>
                  </a:lnTo>
                  <a:lnTo>
                    <a:pt x="277" y="1010"/>
                  </a:lnTo>
                  <a:lnTo>
                    <a:pt x="280" y="1007"/>
                  </a:lnTo>
                  <a:lnTo>
                    <a:pt x="282" y="1004"/>
                  </a:lnTo>
                  <a:lnTo>
                    <a:pt x="284" y="999"/>
                  </a:lnTo>
                  <a:lnTo>
                    <a:pt x="284" y="994"/>
                  </a:lnTo>
                  <a:lnTo>
                    <a:pt x="282" y="989"/>
                  </a:lnTo>
                  <a:lnTo>
                    <a:pt x="279" y="982"/>
                  </a:lnTo>
                  <a:lnTo>
                    <a:pt x="271" y="966"/>
                  </a:lnTo>
                  <a:lnTo>
                    <a:pt x="265" y="948"/>
                  </a:lnTo>
                  <a:lnTo>
                    <a:pt x="259" y="929"/>
                  </a:lnTo>
                  <a:lnTo>
                    <a:pt x="254" y="909"/>
                  </a:lnTo>
                  <a:lnTo>
                    <a:pt x="251" y="888"/>
                  </a:lnTo>
                  <a:lnTo>
                    <a:pt x="247" y="866"/>
                  </a:lnTo>
                  <a:lnTo>
                    <a:pt x="245" y="843"/>
                  </a:lnTo>
                  <a:lnTo>
                    <a:pt x="244" y="820"/>
                  </a:lnTo>
                  <a:lnTo>
                    <a:pt x="243" y="796"/>
                  </a:lnTo>
                  <a:lnTo>
                    <a:pt x="243" y="773"/>
                  </a:lnTo>
                  <a:lnTo>
                    <a:pt x="244" y="748"/>
                  </a:lnTo>
                  <a:lnTo>
                    <a:pt x="245" y="725"/>
                  </a:lnTo>
                  <a:lnTo>
                    <a:pt x="249" y="678"/>
                  </a:lnTo>
                  <a:lnTo>
                    <a:pt x="254" y="633"/>
                  </a:lnTo>
                  <a:lnTo>
                    <a:pt x="255" y="629"/>
                  </a:lnTo>
                  <a:lnTo>
                    <a:pt x="259" y="628"/>
                  </a:lnTo>
                  <a:lnTo>
                    <a:pt x="282" y="625"/>
                  </a:lnTo>
                  <a:lnTo>
                    <a:pt x="307" y="622"/>
                  </a:lnTo>
                  <a:lnTo>
                    <a:pt x="332" y="618"/>
                  </a:lnTo>
                  <a:lnTo>
                    <a:pt x="357" y="615"/>
                  </a:lnTo>
                  <a:lnTo>
                    <a:pt x="381" y="612"/>
                  </a:lnTo>
                  <a:lnTo>
                    <a:pt x="406" y="610"/>
                  </a:lnTo>
                  <a:lnTo>
                    <a:pt x="428" y="608"/>
                  </a:lnTo>
                  <a:lnTo>
                    <a:pt x="448" y="607"/>
                  </a:lnTo>
                  <a:lnTo>
                    <a:pt x="450" y="607"/>
                  </a:lnTo>
                  <a:lnTo>
                    <a:pt x="459" y="608"/>
                  </a:lnTo>
                  <a:lnTo>
                    <a:pt x="466" y="610"/>
                  </a:lnTo>
                  <a:lnTo>
                    <a:pt x="472" y="612"/>
                  </a:lnTo>
                  <a:lnTo>
                    <a:pt x="477" y="617"/>
                  </a:lnTo>
                  <a:lnTo>
                    <a:pt x="479" y="620"/>
                  </a:lnTo>
                  <a:lnTo>
                    <a:pt x="481" y="623"/>
                  </a:lnTo>
                  <a:lnTo>
                    <a:pt x="482" y="626"/>
                  </a:lnTo>
                  <a:lnTo>
                    <a:pt x="483" y="630"/>
                  </a:lnTo>
                  <a:lnTo>
                    <a:pt x="483" y="637"/>
                  </a:lnTo>
                  <a:lnTo>
                    <a:pt x="483" y="645"/>
                  </a:lnTo>
                  <a:lnTo>
                    <a:pt x="483" y="657"/>
                  </a:lnTo>
                  <a:lnTo>
                    <a:pt x="483" y="674"/>
                  </a:lnTo>
                  <a:lnTo>
                    <a:pt x="485" y="693"/>
                  </a:lnTo>
                  <a:lnTo>
                    <a:pt x="489" y="717"/>
                  </a:lnTo>
                  <a:lnTo>
                    <a:pt x="492" y="728"/>
                  </a:lnTo>
                  <a:lnTo>
                    <a:pt x="495" y="741"/>
                  </a:lnTo>
                  <a:lnTo>
                    <a:pt x="500" y="753"/>
                  </a:lnTo>
                  <a:lnTo>
                    <a:pt x="506" y="766"/>
                  </a:lnTo>
                  <a:lnTo>
                    <a:pt x="513" y="779"/>
                  </a:lnTo>
                  <a:lnTo>
                    <a:pt x="520" y="791"/>
                  </a:lnTo>
                  <a:lnTo>
                    <a:pt x="529" y="803"/>
                  </a:lnTo>
                  <a:lnTo>
                    <a:pt x="539" y="816"/>
                  </a:lnTo>
                  <a:lnTo>
                    <a:pt x="548" y="824"/>
                  </a:lnTo>
                  <a:lnTo>
                    <a:pt x="558" y="832"/>
                  </a:lnTo>
                  <a:lnTo>
                    <a:pt x="568" y="840"/>
                  </a:lnTo>
                  <a:lnTo>
                    <a:pt x="578" y="846"/>
                  </a:lnTo>
                  <a:lnTo>
                    <a:pt x="589" y="853"/>
                  </a:lnTo>
                  <a:lnTo>
                    <a:pt x="600" y="858"/>
                  </a:lnTo>
                  <a:lnTo>
                    <a:pt x="613" y="865"/>
                  </a:lnTo>
                  <a:lnTo>
                    <a:pt x="626" y="869"/>
                  </a:lnTo>
                  <a:lnTo>
                    <a:pt x="639" y="873"/>
                  </a:lnTo>
                  <a:lnTo>
                    <a:pt x="652" y="877"/>
                  </a:lnTo>
                  <a:lnTo>
                    <a:pt x="668" y="879"/>
                  </a:lnTo>
                  <a:lnTo>
                    <a:pt x="682" y="882"/>
                  </a:lnTo>
                  <a:lnTo>
                    <a:pt x="697" y="883"/>
                  </a:lnTo>
                  <a:lnTo>
                    <a:pt x="714" y="884"/>
                  </a:lnTo>
                  <a:lnTo>
                    <a:pt x="730" y="885"/>
                  </a:lnTo>
                  <a:lnTo>
                    <a:pt x="747" y="885"/>
                  </a:lnTo>
                  <a:lnTo>
                    <a:pt x="756" y="8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0" name="Freeform 36"/>
            <p:cNvSpPr>
              <a:spLocks/>
            </p:cNvSpPr>
            <p:nvPr userDrawn="1"/>
          </p:nvSpPr>
          <p:spPr bwMode="auto">
            <a:xfrm>
              <a:off x="6460" y="648"/>
              <a:ext cx="42" cy="70"/>
            </a:xfrm>
            <a:custGeom>
              <a:avLst/>
              <a:gdLst>
                <a:gd name="T0" fmla="*/ 395 w 504"/>
                <a:gd name="T1" fmla="*/ 126 h 840"/>
                <a:gd name="T2" fmla="*/ 353 w 504"/>
                <a:gd name="T3" fmla="*/ 165 h 840"/>
                <a:gd name="T4" fmla="*/ 314 w 504"/>
                <a:gd name="T5" fmla="*/ 203 h 840"/>
                <a:gd name="T6" fmla="*/ 279 w 504"/>
                <a:gd name="T7" fmla="*/ 243 h 840"/>
                <a:gd name="T8" fmla="*/ 248 w 504"/>
                <a:gd name="T9" fmla="*/ 283 h 840"/>
                <a:gd name="T10" fmla="*/ 219 w 504"/>
                <a:gd name="T11" fmla="*/ 323 h 840"/>
                <a:gd name="T12" fmla="*/ 195 w 504"/>
                <a:gd name="T13" fmla="*/ 365 h 840"/>
                <a:gd name="T14" fmla="*/ 174 w 504"/>
                <a:gd name="T15" fmla="*/ 407 h 840"/>
                <a:gd name="T16" fmla="*/ 156 w 504"/>
                <a:gd name="T17" fmla="*/ 451 h 840"/>
                <a:gd name="T18" fmla="*/ 135 w 504"/>
                <a:gd name="T19" fmla="*/ 514 h 840"/>
                <a:gd name="T20" fmla="*/ 122 w 504"/>
                <a:gd name="T21" fmla="*/ 567 h 840"/>
                <a:gd name="T22" fmla="*/ 115 w 504"/>
                <a:gd name="T23" fmla="*/ 613 h 840"/>
                <a:gd name="T24" fmla="*/ 114 w 504"/>
                <a:gd name="T25" fmla="*/ 650 h 840"/>
                <a:gd name="T26" fmla="*/ 116 w 504"/>
                <a:gd name="T27" fmla="*/ 681 h 840"/>
                <a:gd name="T28" fmla="*/ 121 w 504"/>
                <a:gd name="T29" fmla="*/ 704 h 840"/>
                <a:gd name="T30" fmla="*/ 127 w 504"/>
                <a:gd name="T31" fmla="*/ 723 h 840"/>
                <a:gd name="T32" fmla="*/ 135 w 504"/>
                <a:gd name="T33" fmla="*/ 736 h 840"/>
                <a:gd name="T34" fmla="*/ 146 w 504"/>
                <a:gd name="T35" fmla="*/ 748 h 840"/>
                <a:gd name="T36" fmla="*/ 159 w 504"/>
                <a:gd name="T37" fmla="*/ 757 h 840"/>
                <a:gd name="T38" fmla="*/ 173 w 504"/>
                <a:gd name="T39" fmla="*/ 762 h 840"/>
                <a:gd name="T40" fmla="*/ 188 w 504"/>
                <a:gd name="T41" fmla="*/ 764 h 840"/>
                <a:gd name="T42" fmla="*/ 208 w 504"/>
                <a:gd name="T43" fmla="*/ 840 h 840"/>
                <a:gd name="T44" fmla="*/ 182 w 504"/>
                <a:gd name="T45" fmla="*/ 839 h 840"/>
                <a:gd name="T46" fmla="*/ 159 w 504"/>
                <a:gd name="T47" fmla="*/ 835 h 840"/>
                <a:gd name="T48" fmla="*/ 136 w 504"/>
                <a:gd name="T49" fmla="*/ 829 h 840"/>
                <a:gd name="T50" fmla="*/ 115 w 504"/>
                <a:gd name="T51" fmla="*/ 821 h 840"/>
                <a:gd name="T52" fmla="*/ 96 w 504"/>
                <a:gd name="T53" fmla="*/ 809 h 840"/>
                <a:gd name="T54" fmla="*/ 77 w 504"/>
                <a:gd name="T55" fmla="*/ 795 h 840"/>
                <a:gd name="T56" fmla="*/ 61 w 504"/>
                <a:gd name="T57" fmla="*/ 780 h 840"/>
                <a:gd name="T58" fmla="*/ 47 w 504"/>
                <a:gd name="T59" fmla="*/ 761 h 840"/>
                <a:gd name="T60" fmla="*/ 28 w 504"/>
                <a:gd name="T61" fmla="*/ 731 h 840"/>
                <a:gd name="T62" fmla="*/ 14 w 504"/>
                <a:gd name="T63" fmla="*/ 696 h 840"/>
                <a:gd name="T64" fmla="*/ 5 w 504"/>
                <a:gd name="T65" fmla="*/ 658 h 840"/>
                <a:gd name="T66" fmla="*/ 1 w 504"/>
                <a:gd name="T67" fmla="*/ 618 h 840"/>
                <a:gd name="T68" fmla="*/ 1 w 504"/>
                <a:gd name="T69" fmla="*/ 576 h 840"/>
                <a:gd name="T70" fmla="*/ 5 w 504"/>
                <a:gd name="T71" fmla="*/ 532 h 840"/>
                <a:gd name="T72" fmla="*/ 14 w 504"/>
                <a:gd name="T73" fmla="*/ 486 h 840"/>
                <a:gd name="T74" fmla="*/ 27 w 504"/>
                <a:gd name="T75" fmla="*/ 439 h 840"/>
                <a:gd name="T76" fmla="*/ 51 w 504"/>
                <a:gd name="T77" fmla="*/ 380 h 840"/>
                <a:gd name="T78" fmla="*/ 81 w 504"/>
                <a:gd name="T79" fmla="*/ 321 h 840"/>
                <a:gd name="T80" fmla="*/ 118 w 504"/>
                <a:gd name="T81" fmla="*/ 264 h 840"/>
                <a:gd name="T82" fmla="*/ 162 w 504"/>
                <a:gd name="T83" fmla="*/ 209 h 840"/>
                <a:gd name="T84" fmla="*/ 212 w 504"/>
                <a:gd name="T85" fmla="*/ 156 h 840"/>
                <a:gd name="T86" fmla="*/ 269 w 504"/>
                <a:gd name="T87" fmla="*/ 103 h 840"/>
                <a:gd name="T88" fmla="*/ 332 w 504"/>
                <a:gd name="T89" fmla="*/ 52 h 840"/>
                <a:gd name="T90" fmla="*/ 403 w 504"/>
                <a:gd name="T91" fmla="*/ 2 h 840"/>
                <a:gd name="T92" fmla="*/ 504 w 504"/>
                <a:gd name="T93" fmla="*/ 2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04" h="840">
                  <a:moveTo>
                    <a:pt x="406" y="118"/>
                  </a:moveTo>
                  <a:lnTo>
                    <a:pt x="395" y="126"/>
                  </a:lnTo>
                  <a:lnTo>
                    <a:pt x="374" y="146"/>
                  </a:lnTo>
                  <a:lnTo>
                    <a:pt x="353" y="165"/>
                  </a:lnTo>
                  <a:lnTo>
                    <a:pt x="333" y="184"/>
                  </a:lnTo>
                  <a:lnTo>
                    <a:pt x="314" y="203"/>
                  </a:lnTo>
                  <a:lnTo>
                    <a:pt x="295" y="223"/>
                  </a:lnTo>
                  <a:lnTo>
                    <a:pt x="279" y="243"/>
                  </a:lnTo>
                  <a:lnTo>
                    <a:pt x="263" y="262"/>
                  </a:lnTo>
                  <a:lnTo>
                    <a:pt x="248" y="283"/>
                  </a:lnTo>
                  <a:lnTo>
                    <a:pt x="233" y="303"/>
                  </a:lnTo>
                  <a:lnTo>
                    <a:pt x="219" y="323"/>
                  </a:lnTo>
                  <a:lnTo>
                    <a:pt x="207" y="344"/>
                  </a:lnTo>
                  <a:lnTo>
                    <a:pt x="195" y="365"/>
                  </a:lnTo>
                  <a:lnTo>
                    <a:pt x="184" y="386"/>
                  </a:lnTo>
                  <a:lnTo>
                    <a:pt x="174" y="407"/>
                  </a:lnTo>
                  <a:lnTo>
                    <a:pt x="165" y="430"/>
                  </a:lnTo>
                  <a:lnTo>
                    <a:pt x="156" y="451"/>
                  </a:lnTo>
                  <a:lnTo>
                    <a:pt x="145" y="484"/>
                  </a:lnTo>
                  <a:lnTo>
                    <a:pt x="135" y="514"/>
                  </a:lnTo>
                  <a:lnTo>
                    <a:pt x="128" y="542"/>
                  </a:lnTo>
                  <a:lnTo>
                    <a:pt x="122" y="567"/>
                  </a:lnTo>
                  <a:lnTo>
                    <a:pt x="118" y="591"/>
                  </a:lnTo>
                  <a:lnTo>
                    <a:pt x="115" y="613"/>
                  </a:lnTo>
                  <a:lnTo>
                    <a:pt x="114" y="633"/>
                  </a:lnTo>
                  <a:lnTo>
                    <a:pt x="114" y="650"/>
                  </a:lnTo>
                  <a:lnTo>
                    <a:pt x="114" y="666"/>
                  </a:lnTo>
                  <a:lnTo>
                    <a:pt x="116" y="681"/>
                  </a:lnTo>
                  <a:lnTo>
                    <a:pt x="118" y="693"/>
                  </a:lnTo>
                  <a:lnTo>
                    <a:pt x="121" y="704"/>
                  </a:lnTo>
                  <a:lnTo>
                    <a:pt x="124" y="714"/>
                  </a:lnTo>
                  <a:lnTo>
                    <a:pt x="127" y="723"/>
                  </a:lnTo>
                  <a:lnTo>
                    <a:pt x="131" y="730"/>
                  </a:lnTo>
                  <a:lnTo>
                    <a:pt x="135" y="736"/>
                  </a:lnTo>
                  <a:lnTo>
                    <a:pt x="140" y="742"/>
                  </a:lnTo>
                  <a:lnTo>
                    <a:pt x="146" y="748"/>
                  </a:lnTo>
                  <a:lnTo>
                    <a:pt x="152" y="753"/>
                  </a:lnTo>
                  <a:lnTo>
                    <a:pt x="159" y="757"/>
                  </a:lnTo>
                  <a:lnTo>
                    <a:pt x="166" y="760"/>
                  </a:lnTo>
                  <a:lnTo>
                    <a:pt x="173" y="762"/>
                  </a:lnTo>
                  <a:lnTo>
                    <a:pt x="180" y="763"/>
                  </a:lnTo>
                  <a:lnTo>
                    <a:pt x="188" y="764"/>
                  </a:lnTo>
                  <a:lnTo>
                    <a:pt x="230" y="801"/>
                  </a:lnTo>
                  <a:lnTo>
                    <a:pt x="208" y="840"/>
                  </a:lnTo>
                  <a:lnTo>
                    <a:pt x="195" y="840"/>
                  </a:lnTo>
                  <a:lnTo>
                    <a:pt x="182" y="839"/>
                  </a:lnTo>
                  <a:lnTo>
                    <a:pt x="170" y="838"/>
                  </a:lnTo>
                  <a:lnTo>
                    <a:pt x="159" y="835"/>
                  </a:lnTo>
                  <a:lnTo>
                    <a:pt x="148" y="833"/>
                  </a:lnTo>
                  <a:lnTo>
                    <a:pt x="136" y="829"/>
                  </a:lnTo>
                  <a:lnTo>
                    <a:pt x="125" y="825"/>
                  </a:lnTo>
                  <a:lnTo>
                    <a:pt x="115" y="821"/>
                  </a:lnTo>
                  <a:lnTo>
                    <a:pt x="105" y="814"/>
                  </a:lnTo>
                  <a:lnTo>
                    <a:pt x="96" y="809"/>
                  </a:lnTo>
                  <a:lnTo>
                    <a:pt x="86" y="802"/>
                  </a:lnTo>
                  <a:lnTo>
                    <a:pt x="77" y="795"/>
                  </a:lnTo>
                  <a:lnTo>
                    <a:pt x="69" y="788"/>
                  </a:lnTo>
                  <a:lnTo>
                    <a:pt x="61" y="780"/>
                  </a:lnTo>
                  <a:lnTo>
                    <a:pt x="54" y="771"/>
                  </a:lnTo>
                  <a:lnTo>
                    <a:pt x="47" y="761"/>
                  </a:lnTo>
                  <a:lnTo>
                    <a:pt x="36" y="746"/>
                  </a:lnTo>
                  <a:lnTo>
                    <a:pt x="28" y="731"/>
                  </a:lnTo>
                  <a:lnTo>
                    <a:pt x="21" y="713"/>
                  </a:lnTo>
                  <a:lnTo>
                    <a:pt x="14" y="696"/>
                  </a:lnTo>
                  <a:lnTo>
                    <a:pt x="9" y="678"/>
                  </a:lnTo>
                  <a:lnTo>
                    <a:pt x="5" y="658"/>
                  </a:lnTo>
                  <a:lnTo>
                    <a:pt x="2" y="639"/>
                  </a:lnTo>
                  <a:lnTo>
                    <a:pt x="1" y="618"/>
                  </a:lnTo>
                  <a:lnTo>
                    <a:pt x="0" y="597"/>
                  </a:lnTo>
                  <a:lnTo>
                    <a:pt x="1" y="576"/>
                  </a:lnTo>
                  <a:lnTo>
                    <a:pt x="2" y="554"/>
                  </a:lnTo>
                  <a:lnTo>
                    <a:pt x="5" y="532"/>
                  </a:lnTo>
                  <a:lnTo>
                    <a:pt x="9" y="509"/>
                  </a:lnTo>
                  <a:lnTo>
                    <a:pt x="14" y="486"/>
                  </a:lnTo>
                  <a:lnTo>
                    <a:pt x="20" y="462"/>
                  </a:lnTo>
                  <a:lnTo>
                    <a:pt x="27" y="439"/>
                  </a:lnTo>
                  <a:lnTo>
                    <a:pt x="38" y="409"/>
                  </a:lnTo>
                  <a:lnTo>
                    <a:pt x="51" y="380"/>
                  </a:lnTo>
                  <a:lnTo>
                    <a:pt x="66" y="350"/>
                  </a:lnTo>
                  <a:lnTo>
                    <a:pt x="81" y="321"/>
                  </a:lnTo>
                  <a:lnTo>
                    <a:pt x="99" y="293"/>
                  </a:lnTo>
                  <a:lnTo>
                    <a:pt x="118" y="264"/>
                  </a:lnTo>
                  <a:lnTo>
                    <a:pt x="139" y="237"/>
                  </a:lnTo>
                  <a:lnTo>
                    <a:pt x="162" y="209"/>
                  </a:lnTo>
                  <a:lnTo>
                    <a:pt x="185" y="183"/>
                  </a:lnTo>
                  <a:lnTo>
                    <a:pt x="212" y="156"/>
                  </a:lnTo>
                  <a:lnTo>
                    <a:pt x="239" y="130"/>
                  </a:lnTo>
                  <a:lnTo>
                    <a:pt x="269" y="103"/>
                  </a:lnTo>
                  <a:lnTo>
                    <a:pt x="300" y="77"/>
                  </a:lnTo>
                  <a:lnTo>
                    <a:pt x="332" y="52"/>
                  </a:lnTo>
                  <a:lnTo>
                    <a:pt x="367" y="26"/>
                  </a:lnTo>
                  <a:lnTo>
                    <a:pt x="403" y="2"/>
                  </a:lnTo>
                  <a:lnTo>
                    <a:pt x="406" y="0"/>
                  </a:lnTo>
                  <a:lnTo>
                    <a:pt x="504" y="26"/>
                  </a:lnTo>
                  <a:lnTo>
                    <a:pt x="406" y="1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1" name="Freeform 37"/>
            <p:cNvSpPr>
              <a:spLocks/>
            </p:cNvSpPr>
            <p:nvPr userDrawn="1"/>
          </p:nvSpPr>
          <p:spPr bwMode="auto">
            <a:xfrm>
              <a:off x="7081" y="570"/>
              <a:ext cx="66" cy="83"/>
            </a:xfrm>
            <a:custGeom>
              <a:avLst/>
              <a:gdLst>
                <a:gd name="T0" fmla="*/ 575 w 783"/>
                <a:gd name="T1" fmla="*/ 794 h 1004"/>
                <a:gd name="T2" fmla="*/ 584 w 783"/>
                <a:gd name="T3" fmla="*/ 863 h 1004"/>
                <a:gd name="T4" fmla="*/ 607 w 783"/>
                <a:gd name="T5" fmla="*/ 922 h 1004"/>
                <a:gd name="T6" fmla="*/ 643 w 783"/>
                <a:gd name="T7" fmla="*/ 967 h 1004"/>
                <a:gd name="T8" fmla="*/ 692 w 783"/>
                <a:gd name="T9" fmla="*/ 1000 h 1004"/>
                <a:gd name="T10" fmla="*/ 718 w 783"/>
                <a:gd name="T11" fmla="*/ 1004 h 1004"/>
                <a:gd name="T12" fmla="*/ 738 w 783"/>
                <a:gd name="T13" fmla="*/ 997 h 1004"/>
                <a:gd name="T14" fmla="*/ 741 w 783"/>
                <a:gd name="T15" fmla="*/ 978 h 1004"/>
                <a:gd name="T16" fmla="*/ 727 w 783"/>
                <a:gd name="T17" fmla="*/ 902 h 1004"/>
                <a:gd name="T18" fmla="*/ 728 w 783"/>
                <a:gd name="T19" fmla="*/ 819 h 1004"/>
                <a:gd name="T20" fmla="*/ 742 w 783"/>
                <a:gd name="T21" fmla="*/ 732 h 1004"/>
                <a:gd name="T22" fmla="*/ 767 w 783"/>
                <a:gd name="T23" fmla="*/ 642 h 1004"/>
                <a:gd name="T24" fmla="*/ 783 w 783"/>
                <a:gd name="T25" fmla="*/ 583 h 1004"/>
                <a:gd name="T26" fmla="*/ 779 w 783"/>
                <a:gd name="T27" fmla="*/ 550 h 1004"/>
                <a:gd name="T28" fmla="*/ 756 w 783"/>
                <a:gd name="T29" fmla="*/ 522 h 1004"/>
                <a:gd name="T30" fmla="*/ 702 w 783"/>
                <a:gd name="T31" fmla="*/ 494 h 1004"/>
                <a:gd name="T32" fmla="*/ 674 w 783"/>
                <a:gd name="T33" fmla="*/ 489 h 1004"/>
                <a:gd name="T34" fmla="*/ 651 w 783"/>
                <a:gd name="T35" fmla="*/ 493 h 1004"/>
                <a:gd name="T36" fmla="*/ 633 w 783"/>
                <a:gd name="T37" fmla="*/ 508 h 1004"/>
                <a:gd name="T38" fmla="*/ 603 w 783"/>
                <a:gd name="T39" fmla="*/ 553 h 1004"/>
                <a:gd name="T40" fmla="*/ 506 w 783"/>
                <a:gd name="T41" fmla="*/ 676 h 1004"/>
                <a:gd name="T42" fmla="*/ 401 w 783"/>
                <a:gd name="T43" fmla="*/ 783 h 1004"/>
                <a:gd name="T44" fmla="*/ 336 w 783"/>
                <a:gd name="T45" fmla="*/ 834 h 1004"/>
                <a:gd name="T46" fmla="*/ 286 w 783"/>
                <a:gd name="T47" fmla="*/ 860 h 1004"/>
                <a:gd name="T48" fmla="*/ 240 w 783"/>
                <a:gd name="T49" fmla="*/ 873 h 1004"/>
                <a:gd name="T50" fmla="*/ 209 w 783"/>
                <a:gd name="T51" fmla="*/ 871 h 1004"/>
                <a:gd name="T52" fmla="*/ 188 w 783"/>
                <a:gd name="T53" fmla="*/ 858 h 1004"/>
                <a:gd name="T54" fmla="*/ 170 w 783"/>
                <a:gd name="T55" fmla="*/ 836 h 1004"/>
                <a:gd name="T56" fmla="*/ 155 w 783"/>
                <a:gd name="T57" fmla="*/ 776 h 1004"/>
                <a:gd name="T58" fmla="*/ 159 w 783"/>
                <a:gd name="T59" fmla="*/ 665 h 1004"/>
                <a:gd name="T60" fmla="*/ 188 w 783"/>
                <a:gd name="T61" fmla="*/ 507 h 1004"/>
                <a:gd name="T62" fmla="*/ 234 w 783"/>
                <a:gd name="T63" fmla="*/ 341 h 1004"/>
                <a:gd name="T64" fmla="*/ 291 w 783"/>
                <a:gd name="T65" fmla="*/ 188 h 1004"/>
                <a:gd name="T66" fmla="*/ 345 w 783"/>
                <a:gd name="T67" fmla="*/ 81 h 1004"/>
                <a:gd name="T68" fmla="*/ 360 w 783"/>
                <a:gd name="T69" fmla="*/ 40 h 1004"/>
                <a:gd name="T70" fmla="*/ 354 w 783"/>
                <a:gd name="T71" fmla="*/ 15 h 1004"/>
                <a:gd name="T72" fmla="*/ 327 w 783"/>
                <a:gd name="T73" fmla="*/ 3 h 1004"/>
                <a:gd name="T74" fmla="*/ 291 w 783"/>
                <a:gd name="T75" fmla="*/ 0 h 1004"/>
                <a:gd name="T76" fmla="*/ 240 w 783"/>
                <a:gd name="T77" fmla="*/ 7 h 1004"/>
                <a:gd name="T78" fmla="*/ 203 w 783"/>
                <a:gd name="T79" fmla="*/ 25 h 1004"/>
                <a:gd name="T80" fmla="*/ 178 w 783"/>
                <a:gd name="T81" fmla="*/ 52 h 1004"/>
                <a:gd name="T82" fmla="*/ 135 w 783"/>
                <a:gd name="T83" fmla="*/ 146 h 1004"/>
                <a:gd name="T84" fmla="*/ 81 w 783"/>
                <a:gd name="T85" fmla="*/ 292 h 1004"/>
                <a:gd name="T86" fmla="*/ 34 w 783"/>
                <a:gd name="T87" fmla="*/ 458 h 1004"/>
                <a:gd name="T88" fmla="*/ 5 w 783"/>
                <a:gd name="T89" fmla="*/ 639 h 1004"/>
                <a:gd name="T90" fmla="*/ 1 w 783"/>
                <a:gd name="T91" fmla="*/ 756 h 1004"/>
                <a:gd name="T92" fmla="*/ 8 w 783"/>
                <a:gd name="T93" fmla="*/ 802 h 1004"/>
                <a:gd name="T94" fmla="*/ 25 w 783"/>
                <a:gd name="T95" fmla="*/ 845 h 1004"/>
                <a:gd name="T96" fmla="*/ 51 w 783"/>
                <a:gd name="T97" fmla="*/ 884 h 1004"/>
                <a:gd name="T98" fmla="*/ 91 w 783"/>
                <a:gd name="T99" fmla="*/ 923 h 1004"/>
                <a:gd name="T100" fmla="*/ 141 w 783"/>
                <a:gd name="T101" fmla="*/ 955 h 1004"/>
                <a:gd name="T102" fmla="*/ 189 w 783"/>
                <a:gd name="T103" fmla="*/ 975 h 1004"/>
                <a:gd name="T104" fmla="*/ 248 w 783"/>
                <a:gd name="T105" fmla="*/ 986 h 1004"/>
                <a:gd name="T106" fmla="*/ 294 w 783"/>
                <a:gd name="T107" fmla="*/ 979 h 1004"/>
                <a:gd name="T108" fmla="*/ 339 w 783"/>
                <a:gd name="T109" fmla="*/ 961 h 1004"/>
                <a:gd name="T110" fmla="*/ 426 w 783"/>
                <a:gd name="T111" fmla="*/ 901 h 1004"/>
                <a:gd name="T112" fmla="*/ 504 w 783"/>
                <a:gd name="T113" fmla="*/ 825 h 10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83" h="1004">
                  <a:moveTo>
                    <a:pt x="576" y="737"/>
                  </a:moveTo>
                  <a:lnTo>
                    <a:pt x="575" y="755"/>
                  </a:lnTo>
                  <a:lnTo>
                    <a:pt x="575" y="775"/>
                  </a:lnTo>
                  <a:lnTo>
                    <a:pt x="575" y="794"/>
                  </a:lnTo>
                  <a:lnTo>
                    <a:pt x="576" y="812"/>
                  </a:lnTo>
                  <a:lnTo>
                    <a:pt x="578" y="831"/>
                  </a:lnTo>
                  <a:lnTo>
                    <a:pt x="581" y="847"/>
                  </a:lnTo>
                  <a:lnTo>
                    <a:pt x="584" y="863"/>
                  </a:lnTo>
                  <a:lnTo>
                    <a:pt x="590" y="879"/>
                  </a:lnTo>
                  <a:lnTo>
                    <a:pt x="595" y="894"/>
                  </a:lnTo>
                  <a:lnTo>
                    <a:pt x="601" y="908"/>
                  </a:lnTo>
                  <a:lnTo>
                    <a:pt x="607" y="922"/>
                  </a:lnTo>
                  <a:lnTo>
                    <a:pt x="615" y="934"/>
                  </a:lnTo>
                  <a:lnTo>
                    <a:pt x="623" y="946"/>
                  </a:lnTo>
                  <a:lnTo>
                    <a:pt x="632" y="956"/>
                  </a:lnTo>
                  <a:lnTo>
                    <a:pt x="643" y="967"/>
                  </a:lnTo>
                  <a:lnTo>
                    <a:pt x="654" y="977"/>
                  </a:lnTo>
                  <a:lnTo>
                    <a:pt x="666" y="986"/>
                  </a:lnTo>
                  <a:lnTo>
                    <a:pt x="678" y="994"/>
                  </a:lnTo>
                  <a:lnTo>
                    <a:pt x="692" y="1000"/>
                  </a:lnTo>
                  <a:lnTo>
                    <a:pt x="699" y="1002"/>
                  </a:lnTo>
                  <a:lnTo>
                    <a:pt x="705" y="1003"/>
                  </a:lnTo>
                  <a:lnTo>
                    <a:pt x="712" y="1004"/>
                  </a:lnTo>
                  <a:lnTo>
                    <a:pt x="718" y="1004"/>
                  </a:lnTo>
                  <a:lnTo>
                    <a:pt x="724" y="1004"/>
                  </a:lnTo>
                  <a:lnTo>
                    <a:pt x="730" y="1003"/>
                  </a:lnTo>
                  <a:lnTo>
                    <a:pt x="735" y="1000"/>
                  </a:lnTo>
                  <a:lnTo>
                    <a:pt x="738" y="997"/>
                  </a:lnTo>
                  <a:lnTo>
                    <a:pt x="741" y="993"/>
                  </a:lnTo>
                  <a:lnTo>
                    <a:pt x="742" y="989"/>
                  </a:lnTo>
                  <a:lnTo>
                    <a:pt x="742" y="984"/>
                  </a:lnTo>
                  <a:lnTo>
                    <a:pt x="741" y="978"/>
                  </a:lnTo>
                  <a:lnTo>
                    <a:pt x="735" y="959"/>
                  </a:lnTo>
                  <a:lnTo>
                    <a:pt x="732" y="941"/>
                  </a:lnTo>
                  <a:lnTo>
                    <a:pt x="729" y="922"/>
                  </a:lnTo>
                  <a:lnTo>
                    <a:pt x="727" y="902"/>
                  </a:lnTo>
                  <a:lnTo>
                    <a:pt x="726" y="883"/>
                  </a:lnTo>
                  <a:lnTo>
                    <a:pt x="726" y="861"/>
                  </a:lnTo>
                  <a:lnTo>
                    <a:pt x="726" y="841"/>
                  </a:lnTo>
                  <a:lnTo>
                    <a:pt x="728" y="819"/>
                  </a:lnTo>
                  <a:lnTo>
                    <a:pt x="730" y="798"/>
                  </a:lnTo>
                  <a:lnTo>
                    <a:pt x="733" y="776"/>
                  </a:lnTo>
                  <a:lnTo>
                    <a:pt x="736" y="754"/>
                  </a:lnTo>
                  <a:lnTo>
                    <a:pt x="742" y="732"/>
                  </a:lnTo>
                  <a:lnTo>
                    <a:pt x="747" y="709"/>
                  </a:lnTo>
                  <a:lnTo>
                    <a:pt x="753" y="687"/>
                  </a:lnTo>
                  <a:lnTo>
                    <a:pt x="760" y="664"/>
                  </a:lnTo>
                  <a:lnTo>
                    <a:pt x="767" y="642"/>
                  </a:lnTo>
                  <a:lnTo>
                    <a:pt x="775" y="620"/>
                  </a:lnTo>
                  <a:lnTo>
                    <a:pt x="780" y="600"/>
                  </a:lnTo>
                  <a:lnTo>
                    <a:pt x="782" y="591"/>
                  </a:lnTo>
                  <a:lnTo>
                    <a:pt x="783" y="583"/>
                  </a:lnTo>
                  <a:lnTo>
                    <a:pt x="783" y="573"/>
                  </a:lnTo>
                  <a:lnTo>
                    <a:pt x="783" y="565"/>
                  </a:lnTo>
                  <a:lnTo>
                    <a:pt x="781" y="558"/>
                  </a:lnTo>
                  <a:lnTo>
                    <a:pt x="779" y="550"/>
                  </a:lnTo>
                  <a:lnTo>
                    <a:pt x="775" y="543"/>
                  </a:lnTo>
                  <a:lnTo>
                    <a:pt x="770" y="536"/>
                  </a:lnTo>
                  <a:lnTo>
                    <a:pt x="764" y="530"/>
                  </a:lnTo>
                  <a:lnTo>
                    <a:pt x="756" y="522"/>
                  </a:lnTo>
                  <a:lnTo>
                    <a:pt x="747" y="515"/>
                  </a:lnTo>
                  <a:lnTo>
                    <a:pt x="735" y="509"/>
                  </a:lnTo>
                  <a:lnTo>
                    <a:pt x="718" y="500"/>
                  </a:lnTo>
                  <a:lnTo>
                    <a:pt x="702" y="494"/>
                  </a:lnTo>
                  <a:lnTo>
                    <a:pt x="695" y="492"/>
                  </a:lnTo>
                  <a:lnTo>
                    <a:pt x="687" y="490"/>
                  </a:lnTo>
                  <a:lnTo>
                    <a:pt x="680" y="489"/>
                  </a:lnTo>
                  <a:lnTo>
                    <a:pt x="674" y="489"/>
                  </a:lnTo>
                  <a:lnTo>
                    <a:pt x="667" y="489"/>
                  </a:lnTo>
                  <a:lnTo>
                    <a:pt x="662" y="490"/>
                  </a:lnTo>
                  <a:lnTo>
                    <a:pt x="656" y="491"/>
                  </a:lnTo>
                  <a:lnTo>
                    <a:pt x="651" y="493"/>
                  </a:lnTo>
                  <a:lnTo>
                    <a:pt x="646" y="496"/>
                  </a:lnTo>
                  <a:lnTo>
                    <a:pt x="642" y="499"/>
                  </a:lnTo>
                  <a:lnTo>
                    <a:pt x="637" y="503"/>
                  </a:lnTo>
                  <a:lnTo>
                    <a:pt x="633" y="508"/>
                  </a:lnTo>
                  <a:lnTo>
                    <a:pt x="630" y="512"/>
                  </a:lnTo>
                  <a:lnTo>
                    <a:pt x="627" y="516"/>
                  </a:lnTo>
                  <a:lnTo>
                    <a:pt x="624" y="522"/>
                  </a:lnTo>
                  <a:lnTo>
                    <a:pt x="603" y="553"/>
                  </a:lnTo>
                  <a:lnTo>
                    <a:pt x="579" y="584"/>
                  </a:lnTo>
                  <a:lnTo>
                    <a:pt x="556" y="615"/>
                  </a:lnTo>
                  <a:lnTo>
                    <a:pt x="531" y="646"/>
                  </a:lnTo>
                  <a:lnTo>
                    <a:pt x="506" y="676"/>
                  </a:lnTo>
                  <a:lnTo>
                    <a:pt x="480" y="704"/>
                  </a:lnTo>
                  <a:lnTo>
                    <a:pt x="454" y="733"/>
                  </a:lnTo>
                  <a:lnTo>
                    <a:pt x="427" y="758"/>
                  </a:lnTo>
                  <a:lnTo>
                    <a:pt x="401" y="783"/>
                  </a:lnTo>
                  <a:lnTo>
                    <a:pt x="374" y="805"/>
                  </a:lnTo>
                  <a:lnTo>
                    <a:pt x="362" y="815"/>
                  </a:lnTo>
                  <a:lnTo>
                    <a:pt x="349" y="825"/>
                  </a:lnTo>
                  <a:lnTo>
                    <a:pt x="336" y="834"/>
                  </a:lnTo>
                  <a:lnTo>
                    <a:pt x="323" y="841"/>
                  </a:lnTo>
                  <a:lnTo>
                    <a:pt x="310" y="848"/>
                  </a:lnTo>
                  <a:lnTo>
                    <a:pt x="298" y="855"/>
                  </a:lnTo>
                  <a:lnTo>
                    <a:pt x="286" y="860"/>
                  </a:lnTo>
                  <a:lnTo>
                    <a:pt x="273" y="865"/>
                  </a:lnTo>
                  <a:lnTo>
                    <a:pt x="262" y="868"/>
                  </a:lnTo>
                  <a:lnTo>
                    <a:pt x="251" y="872"/>
                  </a:lnTo>
                  <a:lnTo>
                    <a:pt x="240" y="873"/>
                  </a:lnTo>
                  <a:lnTo>
                    <a:pt x="228" y="874"/>
                  </a:lnTo>
                  <a:lnTo>
                    <a:pt x="221" y="874"/>
                  </a:lnTo>
                  <a:lnTo>
                    <a:pt x="215" y="873"/>
                  </a:lnTo>
                  <a:lnTo>
                    <a:pt x="209" y="871"/>
                  </a:lnTo>
                  <a:lnTo>
                    <a:pt x="203" y="868"/>
                  </a:lnTo>
                  <a:lnTo>
                    <a:pt x="198" y="865"/>
                  </a:lnTo>
                  <a:lnTo>
                    <a:pt x="193" y="862"/>
                  </a:lnTo>
                  <a:lnTo>
                    <a:pt x="188" y="858"/>
                  </a:lnTo>
                  <a:lnTo>
                    <a:pt x="183" y="853"/>
                  </a:lnTo>
                  <a:lnTo>
                    <a:pt x="178" y="848"/>
                  </a:lnTo>
                  <a:lnTo>
                    <a:pt x="174" y="843"/>
                  </a:lnTo>
                  <a:lnTo>
                    <a:pt x="170" y="836"/>
                  </a:lnTo>
                  <a:lnTo>
                    <a:pt x="167" y="830"/>
                  </a:lnTo>
                  <a:lnTo>
                    <a:pt x="162" y="813"/>
                  </a:lnTo>
                  <a:lnTo>
                    <a:pt x="158" y="796"/>
                  </a:lnTo>
                  <a:lnTo>
                    <a:pt x="155" y="776"/>
                  </a:lnTo>
                  <a:lnTo>
                    <a:pt x="154" y="753"/>
                  </a:lnTo>
                  <a:lnTo>
                    <a:pt x="154" y="729"/>
                  </a:lnTo>
                  <a:lnTo>
                    <a:pt x="155" y="702"/>
                  </a:lnTo>
                  <a:lnTo>
                    <a:pt x="159" y="665"/>
                  </a:lnTo>
                  <a:lnTo>
                    <a:pt x="164" y="628"/>
                  </a:lnTo>
                  <a:lnTo>
                    <a:pt x="170" y="589"/>
                  </a:lnTo>
                  <a:lnTo>
                    <a:pt x="178" y="548"/>
                  </a:lnTo>
                  <a:lnTo>
                    <a:pt x="188" y="507"/>
                  </a:lnTo>
                  <a:lnTo>
                    <a:pt x="197" y="465"/>
                  </a:lnTo>
                  <a:lnTo>
                    <a:pt x="208" y="423"/>
                  </a:lnTo>
                  <a:lnTo>
                    <a:pt x="220" y="382"/>
                  </a:lnTo>
                  <a:lnTo>
                    <a:pt x="234" y="341"/>
                  </a:lnTo>
                  <a:lnTo>
                    <a:pt x="247" y="301"/>
                  </a:lnTo>
                  <a:lnTo>
                    <a:pt x="261" y="261"/>
                  </a:lnTo>
                  <a:lnTo>
                    <a:pt x="275" y="223"/>
                  </a:lnTo>
                  <a:lnTo>
                    <a:pt x="291" y="188"/>
                  </a:lnTo>
                  <a:lnTo>
                    <a:pt x="306" y="154"/>
                  </a:lnTo>
                  <a:lnTo>
                    <a:pt x="322" y="122"/>
                  </a:lnTo>
                  <a:lnTo>
                    <a:pt x="338" y="94"/>
                  </a:lnTo>
                  <a:lnTo>
                    <a:pt x="345" y="81"/>
                  </a:lnTo>
                  <a:lnTo>
                    <a:pt x="351" y="68"/>
                  </a:lnTo>
                  <a:lnTo>
                    <a:pt x="356" y="58"/>
                  </a:lnTo>
                  <a:lnTo>
                    <a:pt x="359" y="48"/>
                  </a:lnTo>
                  <a:lnTo>
                    <a:pt x="360" y="40"/>
                  </a:lnTo>
                  <a:lnTo>
                    <a:pt x="361" y="33"/>
                  </a:lnTo>
                  <a:lnTo>
                    <a:pt x="360" y="25"/>
                  </a:lnTo>
                  <a:lnTo>
                    <a:pt x="357" y="20"/>
                  </a:lnTo>
                  <a:lnTo>
                    <a:pt x="354" y="15"/>
                  </a:lnTo>
                  <a:lnTo>
                    <a:pt x="350" y="11"/>
                  </a:lnTo>
                  <a:lnTo>
                    <a:pt x="344" y="8"/>
                  </a:lnTo>
                  <a:lnTo>
                    <a:pt x="337" y="5"/>
                  </a:lnTo>
                  <a:lnTo>
                    <a:pt x="327" y="3"/>
                  </a:lnTo>
                  <a:lnTo>
                    <a:pt x="318" y="1"/>
                  </a:lnTo>
                  <a:lnTo>
                    <a:pt x="307" y="0"/>
                  </a:lnTo>
                  <a:lnTo>
                    <a:pt x="295" y="0"/>
                  </a:lnTo>
                  <a:lnTo>
                    <a:pt x="291" y="0"/>
                  </a:lnTo>
                  <a:lnTo>
                    <a:pt x="276" y="0"/>
                  </a:lnTo>
                  <a:lnTo>
                    <a:pt x="263" y="2"/>
                  </a:lnTo>
                  <a:lnTo>
                    <a:pt x="251" y="4"/>
                  </a:lnTo>
                  <a:lnTo>
                    <a:pt x="240" y="7"/>
                  </a:lnTo>
                  <a:lnTo>
                    <a:pt x="229" y="11"/>
                  </a:lnTo>
                  <a:lnTo>
                    <a:pt x="219" y="15"/>
                  </a:lnTo>
                  <a:lnTo>
                    <a:pt x="211" y="20"/>
                  </a:lnTo>
                  <a:lnTo>
                    <a:pt x="203" y="25"/>
                  </a:lnTo>
                  <a:lnTo>
                    <a:pt x="196" y="32"/>
                  </a:lnTo>
                  <a:lnTo>
                    <a:pt x="190" y="39"/>
                  </a:lnTo>
                  <a:lnTo>
                    <a:pt x="184" y="45"/>
                  </a:lnTo>
                  <a:lnTo>
                    <a:pt x="178" y="52"/>
                  </a:lnTo>
                  <a:lnTo>
                    <a:pt x="169" y="67"/>
                  </a:lnTo>
                  <a:lnTo>
                    <a:pt x="162" y="83"/>
                  </a:lnTo>
                  <a:lnTo>
                    <a:pt x="148" y="113"/>
                  </a:lnTo>
                  <a:lnTo>
                    <a:pt x="135" y="146"/>
                  </a:lnTo>
                  <a:lnTo>
                    <a:pt x="120" y="180"/>
                  </a:lnTo>
                  <a:lnTo>
                    <a:pt x="107" y="215"/>
                  </a:lnTo>
                  <a:lnTo>
                    <a:pt x="94" y="253"/>
                  </a:lnTo>
                  <a:lnTo>
                    <a:pt x="81" y="292"/>
                  </a:lnTo>
                  <a:lnTo>
                    <a:pt x="67" y="332"/>
                  </a:lnTo>
                  <a:lnTo>
                    <a:pt x="56" y="372"/>
                  </a:lnTo>
                  <a:lnTo>
                    <a:pt x="45" y="414"/>
                  </a:lnTo>
                  <a:lnTo>
                    <a:pt x="34" y="458"/>
                  </a:lnTo>
                  <a:lnTo>
                    <a:pt x="24" y="502"/>
                  </a:lnTo>
                  <a:lnTo>
                    <a:pt x="17" y="547"/>
                  </a:lnTo>
                  <a:lnTo>
                    <a:pt x="10" y="593"/>
                  </a:lnTo>
                  <a:lnTo>
                    <a:pt x="5" y="639"/>
                  </a:lnTo>
                  <a:lnTo>
                    <a:pt x="2" y="685"/>
                  </a:lnTo>
                  <a:lnTo>
                    <a:pt x="0" y="732"/>
                  </a:lnTo>
                  <a:lnTo>
                    <a:pt x="0" y="744"/>
                  </a:lnTo>
                  <a:lnTo>
                    <a:pt x="1" y="756"/>
                  </a:lnTo>
                  <a:lnTo>
                    <a:pt x="2" y="768"/>
                  </a:lnTo>
                  <a:lnTo>
                    <a:pt x="3" y="780"/>
                  </a:lnTo>
                  <a:lnTo>
                    <a:pt x="6" y="791"/>
                  </a:lnTo>
                  <a:lnTo>
                    <a:pt x="8" y="802"/>
                  </a:lnTo>
                  <a:lnTo>
                    <a:pt x="12" y="813"/>
                  </a:lnTo>
                  <a:lnTo>
                    <a:pt x="16" y="825"/>
                  </a:lnTo>
                  <a:lnTo>
                    <a:pt x="20" y="835"/>
                  </a:lnTo>
                  <a:lnTo>
                    <a:pt x="25" y="845"/>
                  </a:lnTo>
                  <a:lnTo>
                    <a:pt x="31" y="855"/>
                  </a:lnTo>
                  <a:lnTo>
                    <a:pt x="37" y="864"/>
                  </a:lnTo>
                  <a:lnTo>
                    <a:pt x="44" y="875"/>
                  </a:lnTo>
                  <a:lnTo>
                    <a:pt x="51" y="884"/>
                  </a:lnTo>
                  <a:lnTo>
                    <a:pt x="58" y="893"/>
                  </a:lnTo>
                  <a:lnTo>
                    <a:pt x="66" y="901"/>
                  </a:lnTo>
                  <a:lnTo>
                    <a:pt x="79" y="912"/>
                  </a:lnTo>
                  <a:lnTo>
                    <a:pt x="91" y="923"/>
                  </a:lnTo>
                  <a:lnTo>
                    <a:pt x="103" y="932"/>
                  </a:lnTo>
                  <a:lnTo>
                    <a:pt x="115" y="941"/>
                  </a:lnTo>
                  <a:lnTo>
                    <a:pt x="127" y="948"/>
                  </a:lnTo>
                  <a:lnTo>
                    <a:pt x="141" y="955"/>
                  </a:lnTo>
                  <a:lnTo>
                    <a:pt x="153" y="961"/>
                  </a:lnTo>
                  <a:lnTo>
                    <a:pt x="165" y="966"/>
                  </a:lnTo>
                  <a:lnTo>
                    <a:pt x="177" y="972"/>
                  </a:lnTo>
                  <a:lnTo>
                    <a:pt x="189" y="975"/>
                  </a:lnTo>
                  <a:lnTo>
                    <a:pt x="201" y="979"/>
                  </a:lnTo>
                  <a:lnTo>
                    <a:pt x="211" y="981"/>
                  </a:lnTo>
                  <a:lnTo>
                    <a:pt x="232" y="985"/>
                  </a:lnTo>
                  <a:lnTo>
                    <a:pt x="248" y="986"/>
                  </a:lnTo>
                  <a:lnTo>
                    <a:pt x="259" y="985"/>
                  </a:lnTo>
                  <a:lnTo>
                    <a:pt x="270" y="984"/>
                  </a:lnTo>
                  <a:lnTo>
                    <a:pt x="282" y="982"/>
                  </a:lnTo>
                  <a:lnTo>
                    <a:pt x="294" y="979"/>
                  </a:lnTo>
                  <a:lnTo>
                    <a:pt x="305" y="976"/>
                  </a:lnTo>
                  <a:lnTo>
                    <a:pt x="316" y="972"/>
                  </a:lnTo>
                  <a:lnTo>
                    <a:pt x="327" y="966"/>
                  </a:lnTo>
                  <a:lnTo>
                    <a:pt x="339" y="961"/>
                  </a:lnTo>
                  <a:lnTo>
                    <a:pt x="361" y="949"/>
                  </a:lnTo>
                  <a:lnTo>
                    <a:pt x="384" y="935"/>
                  </a:lnTo>
                  <a:lnTo>
                    <a:pt x="405" y="918"/>
                  </a:lnTo>
                  <a:lnTo>
                    <a:pt x="426" y="901"/>
                  </a:lnTo>
                  <a:lnTo>
                    <a:pt x="448" y="883"/>
                  </a:lnTo>
                  <a:lnTo>
                    <a:pt x="467" y="863"/>
                  </a:lnTo>
                  <a:lnTo>
                    <a:pt x="487" y="844"/>
                  </a:lnTo>
                  <a:lnTo>
                    <a:pt x="504" y="825"/>
                  </a:lnTo>
                  <a:lnTo>
                    <a:pt x="538" y="786"/>
                  </a:lnTo>
                  <a:lnTo>
                    <a:pt x="565" y="751"/>
                  </a:lnTo>
                  <a:lnTo>
                    <a:pt x="576" y="7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2" name="Freeform 38"/>
            <p:cNvSpPr>
              <a:spLocks/>
            </p:cNvSpPr>
            <p:nvPr userDrawn="1"/>
          </p:nvSpPr>
          <p:spPr bwMode="auto">
            <a:xfrm>
              <a:off x="6357" y="558"/>
              <a:ext cx="28" cy="94"/>
            </a:xfrm>
            <a:custGeom>
              <a:avLst/>
              <a:gdLst>
                <a:gd name="T0" fmla="*/ 211 w 340"/>
                <a:gd name="T1" fmla="*/ 0 h 1127"/>
                <a:gd name="T2" fmla="*/ 198 w 340"/>
                <a:gd name="T3" fmla="*/ 2 h 1127"/>
                <a:gd name="T4" fmla="*/ 187 w 340"/>
                <a:gd name="T5" fmla="*/ 6 h 1127"/>
                <a:gd name="T6" fmla="*/ 178 w 340"/>
                <a:gd name="T7" fmla="*/ 12 h 1127"/>
                <a:gd name="T8" fmla="*/ 167 w 340"/>
                <a:gd name="T9" fmla="*/ 24 h 1127"/>
                <a:gd name="T10" fmla="*/ 158 w 340"/>
                <a:gd name="T11" fmla="*/ 41 h 1127"/>
                <a:gd name="T12" fmla="*/ 151 w 340"/>
                <a:gd name="T13" fmla="*/ 66 h 1127"/>
                <a:gd name="T14" fmla="*/ 144 w 340"/>
                <a:gd name="T15" fmla="*/ 103 h 1127"/>
                <a:gd name="T16" fmla="*/ 134 w 340"/>
                <a:gd name="T17" fmla="*/ 147 h 1127"/>
                <a:gd name="T18" fmla="*/ 123 w 340"/>
                <a:gd name="T19" fmla="*/ 195 h 1127"/>
                <a:gd name="T20" fmla="*/ 101 w 340"/>
                <a:gd name="T21" fmla="*/ 292 h 1127"/>
                <a:gd name="T22" fmla="*/ 67 w 340"/>
                <a:gd name="T23" fmla="*/ 447 h 1127"/>
                <a:gd name="T24" fmla="*/ 35 w 340"/>
                <a:gd name="T25" fmla="*/ 608 h 1127"/>
                <a:gd name="T26" fmla="*/ 16 w 340"/>
                <a:gd name="T27" fmla="*/ 725 h 1127"/>
                <a:gd name="T28" fmla="*/ 7 w 340"/>
                <a:gd name="T29" fmla="*/ 797 h 1127"/>
                <a:gd name="T30" fmla="*/ 1 w 340"/>
                <a:gd name="T31" fmla="*/ 872 h 1127"/>
                <a:gd name="T32" fmla="*/ 0 w 340"/>
                <a:gd name="T33" fmla="*/ 941 h 1127"/>
                <a:gd name="T34" fmla="*/ 5 w 340"/>
                <a:gd name="T35" fmla="*/ 996 h 1127"/>
                <a:gd name="T36" fmla="*/ 14 w 340"/>
                <a:gd name="T37" fmla="*/ 1039 h 1127"/>
                <a:gd name="T38" fmla="*/ 27 w 340"/>
                <a:gd name="T39" fmla="*/ 1071 h 1127"/>
                <a:gd name="T40" fmla="*/ 43 w 340"/>
                <a:gd name="T41" fmla="*/ 1094 h 1127"/>
                <a:gd name="T42" fmla="*/ 62 w 340"/>
                <a:gd name="T43" fmla="*/ 1111 h 1127"/>
                <a:gd name="T44" fmla="*/ 82 w 340"/>
                <a:gd name="T45" fmla="*/ 1121 h 1127"/>
                <a:gd name="T46" fmla="*/ 102 w 340"/>
                <a:gd name="T47" fmla="*/ 1127 h 1127"/>
                <a:gd name="T48" fmla="*/ 116 w 340"/>
                <a:gd name="T49" fmla="*/ 1127 h 1127"/>
                <a:gd name="T50" fmla="*/ 122 w 340"/>
                <a:gd name="T51" fmla="*/ 1124 h 1127"/>
                <a:gd name="T52" fmla="*/ 129 w 340"/>
                <a:gd name="T53" fmla="*/ 1116 h 1127"/>
                <a:gd name="T54" fmla="*/ 134 w 340"/>
                <a:gd name="T55" fmla="*/ 1099 h 1127"/>
                <a:gd name="T56" fmla="*/ 134 w 340"/>
                <a:gd name="T57" fmla="*/ 1070 h 1127"/>
                <a:gd name="T58" fmla="*/ 137 w 340"/>
                <a:gd name="T59" fmla="*/ 1026 h 1127"/>
                <a:gd name="T60" fmla="*/ 145 w 340"/>
                <a:gd name="T61" fmla="*/ 948 h 1127"/>
                <a:gd name="T62" fmla="*/ 165 w 340"/>
                <a:gd name="T63" fmla="*/ 829 h 1127"/>
                <a:gd name="T64" fmla="*/ 191 w 340"/>
                <a:gd name="T65" fmla="*/ 696 h 1127"/>
                <a:gd name="T66" fmla="*/ 222 w 340"/>
                <a:gd name="T67" fmla="*/ 559 h 1127"/>
                <a:gd name="T68" fmla="*/ 253 w 340"/>
                <a:gd name="T69" fmla="*/ 425 h 1127"/>
                <a:gd name="T70" fmla="*/ 286 w 340"/>
                <a:gd name="T71" fmla="*/ 301 h 1127"/>
                <a:gd name="T72" fmla="*/ 316 w 340"/>
                <a:gd name="T73" fmla="*/ 195 h 1127"/>
                <a:gd name="T74" fmla="*/ 333 w 340"/>
                <a:gd name="T75" fmla="*/ 136 h 1127"/>
                <a:gd name="T76" fmla="*/ 338 w 340"/>
                <a:gd name="T77" fmla="*/ 110 h 1127"/>
                <a:gd name="T78" fmla="*/ 340 w 340"/>
                <a:gd name="T79" fmla="*/ 88 h 1127"/>
                <a:gd name="T80" fmla="*/ 337 w 340"/>
                <a:gd name="T81" fmla="*/ 70 h 1127"/>
                <a:gd name="T82" fmla="*/ 331 w 340"/>
                <a:gd name="T83" fmla="*/ 55 h 1127"/>
                <a:gd name="T84" fmla="*/ 321 w 340"/>
                <a:gd name="T85" fmla="*/ 42 h 1127"/>
                <a:gd name="T86" fmla="*/ 307 w 340"/>
                <a:gd name="T87" fmla="*/ 31 h 1127"/>
                <a:gd name="T88" fmla="*/ 292 w 340"/>
                <a:gd name="T89" fmla="*/ 22 h 1127"/>
                <a:gd name="T90" fmla="*/ 266 w 340"/>
                <a:gd name="T91" fmla="*/ 9 h 1127"/>
                <a:gd name="T92" fmla="*/ 233 w 340"/>
                <a:gd name="T93" fmla="*/ 1 h 1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0" h="1127">
                  <a:moveTo>
                    <a:pt x="218" y="0"/>
                  </a:moveTo>
                  <a:lnTo>
                    <a:pt x="211" y="0"/>
                  </a:lnTo>
                  <a:lnTo>
                    <a:pt x="204" y="1"/>
                  </a:lnTo>
                  <a:lnTo>
                    <a:pt x="198" y="2"/>
                  </a:lnTo>
                  <a:lnTo>
                    <a:pt x="192" y="4"/>
                  </a:lnTo>
                  <a:lnTo>
                    <a:pt x="187" y="6"/>
                  </a:lnTo>
                  <a:lnTo>
                    <a:pt x="182" y="9"/>
                  </a:lnTo>
                  <a:lnTo>
                    <a:pt x="178" y="12"/>
                  </a:lnTo>
                  <a:lnTo>
                    <a:pt x="174" y="16"/>
                  </a:lnTo>
                  <a:lnTo>
                    <a:pt x="167" y="24"/>
                  </a:lnTo>
                  <a:lnTo>
                    <a:pt x="162" y="33"/>
                  </a:lnTo>
                  <a:lnTo>
                    <a:pt x="158" y="41"/>
                  </a:lnTo>
                  <a:lnTo>
                    <a:pt x="154" y="51"/>
                  </a:lnTo>
                  <a:lnTo>
                    <a:pt x="151" y="66"/>
                  </a:lnTo>
                  <a:lnTo>
                    <a:pt x="148" y="84"/>
                  </a:lnTo>
                  <a:lnTo>
                    <a:pt x="144" y="103"/>
                  </a:lnTo>
                  <a:lnTo>
                    <a:pt x="139" y="125"/>
                  </a:lnTo>
                  <a:lnTo>
                    <a:pt x="134" y="147"/>
                  </a:lnTo>
                  <a:lnTo>
                    <a:pt x="129" y="171"/>
                  </a:lnTo>
                  <a:lnTo>
                    <a:pt x="123" y="195"/>
                  </a:lnTo>
                  <a:lnTo>
                    <a:pt x="118" y="222"/>
                  </a:lnTo>
                  <a:lnTo>
                    <a:pt x="101" y="292"/>
                  </a:lnTo>
                  <a:lnTo>
                    <a:pt x="84" y="369"/>
                  </a:lnTo>
                  <a:lnTo>
                    <a:pt x="67" y="447"/>
                  </a:lnTo>
                  <a:lnTo>
                    <a:pt x="50" y="528"/>
                  </a:lnTo>
                  <a:lnTo>
                    <a:pt x="35" y="608"/>
                  </a:lnTo>
                  <a:lnTo>
                    <a:pt x="22" y="687"/>
                  </a:lnTo>
                  <a:lnTo>
                    <a:pt x="16" y="725"/>
                  </a:lnTo>
                  <a:lnTo>
                    <a:pt x="11" y="762"/>
                  </a:lnTo>
                  <a:lnTo>
                    <a:pt x="7" y="797"/>
                  </a:lnTo>
                  <a:lnTo>
                    <a:pt x="3" y="832"/>
                  </a:lnTo>
                  <a:lnTo>
                    <a:pt x="1" y="872"/>
                  </a:lnTo>
                  <a:lnTo>
                    <a:pt x="0" y="909"/>
                  </a:lnTo>
                  <a:lnTo>
                    <a:pt x="0" y="941"/>
                  </a:lnTo>
                  <a:lnTo>
                    <a:pt x="1" y="971"/>
                  </a:lnTo>
                  <a:lnTo>
                    <a:pt x="5" y="996"/>
                  </a:lnTo>
                  <a:lnTo>
                    <a:pt x="9" y="1019"/>
                  </a:lnTo>
                  <a:lnTo>
                    <a:pt x="14" y="1039"/>
                  </a:lnTo>
                  <a:lnTo>
                    <a:pt x="20" y="1057"/>
                  </a:lnTo>
                  <a:lnTo>
                    <a:pt x="27" y="1071"/>
                  </a:lnTo>
                  <a:lnTo>
                    <a:pt x="35" y="1084"/>
                  </a:lnTo>
                  <a:lnTo>
                    <a:pt x="43" y="1094"/>
                  </a:lnTo>
                  <a:lnTo>
                    <a:pt x="52" y="1103"/>
                  </a:lnTo>
                  <a:lnTo>
                    <a:pt x="62" y="1111"/>
                  </a:lnTo>
                  <a:lnTo>
                    <a:pt x="72" y="1117"/>
                  </a:lnTo>
                  <a:lnTo>
                    <a:pt x="82" y="1121"/>
                  </a:lnTo>
                  <a:lnTo>
                    <a:pt x="93" y="1125"/>
                  </a:lnTo>
                  <a:lnTo>
                    <a:pt x="102" y="1127"/>
                  </a:lnTo>
                  <a:lnTo>
                    <a:pt x="112" y="1127"/>
                  </a:lnTo>
                  <a:lnTo>
                    <a:pt x="116" y="1127"/>
                  </a:lnTo>
                  <a:lnTo>
                    <a:pt x="119" y="1125"/>
                  </a:lnTo>
                  <a:lnTo>
                    <a:pt x="122" y="1124"/>
                  </a:lnTo>
                  <a:lnTo>
                    <a:pt x="125" y="1121"/>
                  </a:lnTo>
                  <a:lnTo>
                    <a:pt x="129" y="1116"/>
                  </a:lnTo>
                  <a:lnTo>
                    <a:pt x="132" y="1109"/>
                  </a:lnTo>
                  <a:lnTo>
                    <a:pt x="134" y="1099"/>
                  </a:lnTo>
                  <a:lnTo>
                    <a:pt x="134" y="1089"/>
                  </a:lnTo>
                  <a:lnTo>
                    <a:pt x="134" y="1070"/>
                  </a:lnTo>
                  <a:lnTo>
                    <a:pt x="135" y="1048"/>
                  </a:lnTo>
                  <a:lnTo>
                    <a:pt x="137" y="1026"/>
                  </a:lnTo>
                  <a:lnTo>
                    <a:pt x="139" y="1001"/>
                  </a:lnTo>
                  <a:lnTo>
                    <a:pt x="145" y="948"/>
                  </a:lnTo>
                  <a:lnTo>
                    <a:pt x="154" y="891"/>
                  </a:lnTo>
                  <a:lnTo>
                    <a:pt x="165" y="829"/>
                  </a:lnTo>
                  <a:lnTo>
                    <a:pt x="177" y="764"/>
                  </a:lnTo>
                  <a:lnTo>
                    <a:pt x="191" y="696"/>
                  </a:lnTo>
                  <a:lnTo>
                    <a:pt x="205" y="628"/>
                  </a:lnTo>
                  <a:lnTo>
                    <a:pt x="222" y="559"/>
                  </a:lnTo>
                  <a:lnTo>
                    <a:pt x="237" y="492"/>
                  </a:lnTo>
                  <a:lnTo>
                    <a:pt x="253" y="425"/>
                  </a:lnTo>
                  <a:lnTo>
                    <a:pt x="270" y="361"/>
                  </a:lnTo>
                  <a:lnTo>
                    <a:pt x="286" y="301"/>
                  </a:lnTo>
                  <a:lnTo>
                    <a:pt x="301" y="245"/>
                  </a:lnTo>
                  <a:lnTo>
                    <a:pt x="316" y="195"/>
                  </a:lnTo>
                  <a:lnTo>
                    <a:pt x="329" y="150"/>
                  </a:lnTo>
                  <a:lnTo>
                    <a:pt x="333" y="136"/>
                  </a:lnTo>
                  <a:lnTo>
                    <a:pt x="336" y="123"/>
                  </a:lnTo>
                  <a:lnTo>
                    <a:pt x="338" y="110"/>
                  </a:lnTo>
                  <a:lnTo>
                    <a:pt x="339" y="98"/>
                  </a:lnTo>
                  <a:lnTo>
                    <a:pt x="340" y="88"/>
                  </a:lnTo>
                  <a:lnTo>
                    <a:pt x="339" y="79"/>
                  </a:lnTo>
                  <a:lnTo>
                    <a:pt x="337" y="70"/>
                  </a:lnTo>
                  <a:lnTo>
                    <a:pt x="334" y="62"/>
                  </a:lnTo>
                  <a:lnTo>
                    <a:pt x="331" y="55"/>
                  </a:lnTo>
                  <a:lnTo>
                    <a:pt x="326" y="48"/>
                  </a:lnTo>
                  <a:lnTo>
                    <a:pt x="321" y="42"/>
                  </a:lnTo>
                  <a:lnTo>
                    <a:pt x="315" y="37"/>
                  </a:lnTo>
                  <a:lnTo>
                    <a:pt x="307" y="31"/>
                  </a:lnTo>
                  <a:lnTo>
                    <a:pt x="300" y="27"/>
                  </a:lnTo>
                  <a:lnTo>
                    <a:pt x="292" y="22"/>
                  </a:lnTo>
                  <a:lnTo>
                    <a:pt x="283" y="17"/>
                  </a:lnTo>
                  <a:lnTo>
                    <a:pt x="266" y="9"/>
                  </a:lnTo>
                  <a:lnTo>
                    <a:pt x="248" y="4"/>
                  </a:lnTo>
                  <a:lnTo>
                    <a:pt x="233" y="1"/>
                  </a:lnTo>
                  <a:lnTo>
                    <a:pt x="21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3" name="Freeform 39"/>
            <p:cNvSpPr>
              <a:spLocks/>
            </p:cNvSpPr>
            <p:nvPr userDrawn="1"/>
          </p:nvSpPr>
          <p:spPr bwMode="auto">
            <a:xfrm>
              <a:off x="7003" y="607"/>
              <a:ext cx="58" cy="42"/>
            </a:xfrm>
            <a:custGeom>
              <a:avLst/>
              <a:gdLst>
                <a:gd name="T0" fmla="*/ 50 w 695"/>
                <a:gd name="T1" fmla="*/ 38 h 503"/>
                <a:gd name="T2" fmla="*/ 37 w 695"/>
                <a:gd name="T3" fmla="*/ 44 h 503"/>
                <a:gd name="T4" fmla="*/ 31 w 695"/>
                <a:gd name="T5" fmla="*/ 54 h 503"/>
                <a:gd name="T6" fmla="*/ 30 w 695"/>
                <a:gd name="T7" fmla="*/ 70 h 503"/>
                <a:gd name="T8" fmla="*/ 37 w 695"/>
                <a:gd name="T9" fmla="*/ 108 h 503"/>
                <a:gd name="T10" fmla="*/ 39 w 695"/>
                <a:gd name="T11" fmla="*/ 159 h 503"/>
                <a:gd name="T12" fmla="*/ 35 w 695"/>
                <a:gd name="T13" fmla="*/ 214 h 503"/>
                <a:gd name="T14" fmla="*/ 17 w 695"/>
                <a:gd name="T15" fmla="*/ 323 h 503"/>
                <a:gd name="T16" fmla="*/ 4 w 695"/>
                <a:gd name="T17" fmla="*/ 384 h 503"/>
                <a:gd name="T18" fmla="*/ 0 w 695"/>
                <a:gd name="T19" fmla="*/ 414 h 503"/>
                <a:gd name="T20" fmla="*/ 6 w 695"/>
                <a:gd name="T21" fmla="*/ 438 h 503"/>
                <a:gd name="T22" fmla="*/ 17 w 695"/>
                <a:gd name="T23" fmla="*/ 455 h 503"/>
                <a:gd name="T24" fmla="*/ 32 w 695"/>
                <a:gd name="T25" fmla="*/ 470 h 503"/>
                <a:gd name="T26" fmla="*/ 74 w 695"/>
                <a:gd name="T27" fmla="*/ 494 h 503"/>
                <a:gd name="T28" fmla="*/ 114 w 695"/>
                <a:gd name="T29" fmla="*/ 503 h 503"/>
                <a:gd name="T30" fmla="*/ 134 w 695"/>
                <a:gd name="T31" fmla="*/ 500 h 503"/>
                <a:gd name="T32" fmla="*/ 152 w 695"/>
                <a:gd name="T33" fmla="*/ 486 h 503"/>
                <a:gd name="T34" fmla="*/ 171 w 695"/>
                <a:gd name="T35" fmla="*/ 441 h 503"/>
                <a:gd name="T36" fmla="*/ 212 w 695"/>
                <a:gd name="T37" fmla="*/ 349 h 503"/>
                <a:gd name="T38" fmla="*/ 241 w 695"/>
                <a:gd name="T39" fmla="*/ 301 h 503"/>
                <a:gd name="T40" fmla="*/ 278 w 695"/>
                <a:gd name="T41" fmla="*/ 253 h 503"/>
                <a:gd name="T42" fmla="*/ 322 w 695"/>
                <a:gd name="T43" fmla="*/ 208 h 503"/>
                <a:gd name="T44" fmla="*/ 374 w 695"/>
                <a:gd name="T45" fmla="*/ 167 h 503"/>
                <a:gd name="T46" fmla="*/ 435 w 695"/>
                <a:gd name="T47" fmla="*/ 131 h 503"/>
                <a:gd name="T48" fmla="*/ 505 w 695"/>
                <a:gd name="T49" fmla="*/ 102 h 503"/>
                <a:gd name="T50" fmla="*/ 585 w 695"/>
                <a:gd name="T51" fmla="*/ 82 h 503"/>
                <a:gd name="T52" fmla="*/ 677 w 695"/>
                <a:gd name="T53" fmla="*/ 72 h 503"/>
                <a:gd name="T54" fmla="*/ 686 w 695"/>
                <a:gd name="T55" fmla="*/ 69 h 503"/>
                <a:gd name="T56" fmla="*/ 692 w 695"/>
                <a:gd name="T57" fmla="*/ 62 h 503"/>
                <a:gd name="T58" fmla="*/ 695 w 695"/>
                <a:gd name="T59" fmla="*/ 51 h 503"/>
                <a:gd name="T60" fmla="*/ 690 w 695"/>
                <a:gd name="T61" fmla="*/ 34 h 503"/>
                <a:gd name="T62" fmla="*/ 674 w 695"/>
                <a:gd name="T63" fmla="*/ 18 h 503"/>
                <a:gd name="T64" fmla="*/ 648 w 695"/>
                <a:gd name="T65" fmla="*/ 8 h 503"/>
                <a:gd name="T66" fmla="*/ 604 w 695"/>
                <a:gd name="T67" fmla="*/ 1 h 503"/>
                <a:gd name="T68" fmla="*/ 536 w 695"/>
                <a:gd name="T69" fmla="*/ 2 h 503"/>
                <a:gd name="T70" fmla="*/ 469 w 695"/>
                <a:gd name="T71" fmla="*/ 13 h 503"/>
                <a:gd name="T72" fmla="*/ 397 w 695"/>
                <a:gd name="T73" fmla="*/ 33 h 503"/>
                <a:gd name="T74" fmla="*/ 328 w 695"/>
                <a:gd name="T75" fmla="*/ 60 h 503"/>
                <a:gd name="T76" fmla="*/ 262 w 695"/>
                <a:gd name="T77" fmla="*/ 94 h 503"/>
                <a:gd name="T78" fmla="*/ 214 w 695"/>
                <a:gd name="T79" fmla="*/ 124 h 503"/>
                <a:gd name="T80" fmla="*/ 200 w 695"/>
                <a:gd name="T81" fmla="*/ 101 h 503"/>
                <a:gd name="T82" fmla="*/ 160 w 695"/>
                <a:gd name="T83" fmla="*/ 66 h 503"/>
                <a:gd name="T84" fmla="*/ 124 w 695"/>
                <a:gd name="T85" fmla="*/ 46 h 503"/>
                <a:gd name="T86" fmla="*/ 96 w 695"/>
                <a:gd name="T87" fmla="*/ 38 h 503"/>
                <a:gd name="T88" fmla="*/ 71 w 695"/>
                <a:gd name="T89" fmla="*/ 35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503">
                  <a:moveTo>
                    <a:pt x="71" y="35"/>
                  </a:moveTo>
                  <a:lnTo>
                    <a:pt x="61" y="36"/>
                  </a:lnTo>
                  <a:lnTo>
                    <a:pt x="50" y="38"/>
                  </a:lnTo>
                  <a:lnTo>
                    <a:pt x="45" y="39"/>
                  </a:lnTo>
                  <a:lnTo>
                    <a:pt x="41" y="42"/>
                  </a:lnTo>
                  <a:lnTo>
                    <a:pt x="37" y="44"/>
                  </a:lnTo>
                  <a:lnTo>
                    <a:pt x="34" y="48"/>
                  </a:lnTo>
                  <a:lnTo>
                    <a:pt x="32" y="51"/>
                  </a:lnTo>
                  <a:lnTo>
                    <a:pt x="31" y="54"/>
                  </a:lnTo>
                  <a:lnTo>
                    <a:pt x="30" y="58"/>
                  </a:lnTo>
                  <a:lnTo>
                    <a:pt x="29" y="61"/>
                  </a:lnTo>
                  <a:lnTo>
                    <a:pt x="30" y="70"/>
                  </a:lnTo>
                  <a:lnTo>
                    <a:pt x="32" y="81"/>
                  </a:lnTo>
                  <a:lnTo>
                    <a:pt x="35" y="94"/>
                  </a:lnTo>
                  <a:lnTo>
                    <a:pt x="37" y="108"/>
                  </a:lnTo>
                  <a:lnTo>
                    <a:pt x="39" y="125"/>
                  </a:lnTo>
                  <a:lnTo>
                    <a:pt x="39" y="141"/>
                  </a:lnTo>
                  <a:lnTo>
                    <a:pt x="39" y="159"/>
                  </a:lnTo>
                  <a:lnTo>
                    <a:pt x="38" y="177"/>
                  </a:lnTo>
                  <a:lnTo>
                    <a:pt x="37" y="195"/>
                  </a:lnTo>
                  <a:lnTo>
                    <a:pt x="35" y="214"/>
                  </a:lnTo>
                  <a:lnTo>
                    <a:pt x="29" y="252"/>
                  </a:lnTo>
                  <a:lnTo>
                    <a:pt x="23" y="288"/>
                  </a:lnTo>
                  <a:lnTo>
                    <a:pt x="17" y="323"/>
                  </a:lnTo>
                  <a:lnTo>
                    <a:pt x="10" y="353"/>
                  </a:lnTo>
                  <a:lnTo>
                    <a:pt x="7" y="370"/>
                  </a:lnTo>
                  <a:lnTo>
                    <a:pt x="4" y="384"/>
                  </a:lnTo>
                  <a:lnTo>
                    <a:pt x="1" y="395"/>
                  </a:lnTo>
                  <a:lnTo>
                    <a:pt x="0" y="405"/>
                  </a:lnTo>
                  <a:lnTo>
                    <a:pt x="0" y="414"/>
                  </a:lnTo>
                  <a:lnTo>
                    <a:pt x="1" y="424"/>
                  </a:lnTo>
                  <a:lnTo>
                    <a:pt x="4" y="431"/>
                  </a:lnTo>
                  <a:lnTo>
                    <a:pt x="6" y="438"/>
                  </a:lnTo>
                  <a:lnTo>
                    <a:pt x="9" y="444"/>
                  </a:lnTo>
                  <a:lnTo>
                    <a:pt x="13" y="450"/>
                  </a:lnTo>
                  <a:lnTo>
                    <a:pt x="17" y="455"/>
                  </a:lnTo>
                  <a:lnTo>
                    <a:pt x="22" y="460"/>
                  </a:lnTo>
                  <a:lnTo>
                    <a:pt x="27" y="464"/>
                  </a:lnTo>
                  <a:lnTo>
                    <a:pt x="32" y="470"/>
                  </a:lnTo>
                  <a:lnTo>
                    <a:pt x="45" y="478"/>
                  </a:lnTo>
                  <a:lnTo>
                    <a:pt x="60" y="486"/>
                  </a:lnTo>
                  <a:lnTo>
                    <a:pt x="74" y="494"/>
                  </a:lnTo>
                  <a:lnTo>
                    <a:pt x="87" y="499"/>
                  </a:lnTo>
                  <a:lnTo>
                    <a:pt x="101" y="502"/>
                  </a:lnTo>
                  <a:lnTo>
                    <a:pt x="114" y="503"/>
                  </a:lnTo>
                  <a:lnTo>
                    <a:pt x="121" y="503"/>
                  </a:lnTo>
                  <a:lnTo>
                    <a:pt x="127" y="502"/>
                  </a:lnTo>
                  <a:lnTo>
                    <a:pt x="134" y="500"/>
                  </a:lnTo>
                  <a:lnTo>
                    <a:pt x="140" y="496"/>
                  </a:lnTo>
                  <a:lnTo>
                    <a:pt x="146" y="492"/>
                  </a:lnTo>
                  <a:lnTo>
                    <a:pt x="152" y="486"/>
                  </a:lnTo>
                  <a:lnTo>
                    <a:pt x="158" y="478"/>
                  </a:lnTo>
                  <a:lnTo>
                    <a:pt x="161" y="469"/>
                  </a:lnTo>
                  <a:lnTo>
                    <a:pt x="171" y="441"/>
                  </a:lnTo>
                  <a:lnTo>
                    <a:pt x="182" y="411"/>
                  </a:lnTo>
                  <a:lnTo>
                    <a:pt x="195" y="381"/>
                  </a:lnTo>
                  <a:lnTo>
                    <a:pt x="212" y="349"/>
                  </a:lnTo>
                  <a:lnTo>
                    <a:pt x="221" y="333"/>
                  </a:lnTo>
                  <a:lnTo>
                    <a:pt x="231" y="316"/>
                  </a:lnTo>
                  <a:lnTo>
                    <a:pt x="241" y="301"/>
                  </a:lnTo>
                  <a:lnTo>
                    <a:pt x="253" y="285"/>
                  </a:lnTo>
                  <a:lnTo>
                    <a:pt x="265" y="270"/>
                  </a:lnTo>
                  <a:lnTo>
                    <a:pt x="278" y="253"/>
                  </a:lnTo>
                  <a:lnTo>
                    <a:pt x="292" y="238"/>
                  </a:lnTo>
                  <a:lnTo>
                    <a:pt x="306" y="223"/>
                  </a:lnTo>
                  <a:lnTo>
                    <a:pt x="322" y="208"/>
                  </a:lnTo>
                  <a:lnTo>
                    <a:pt x="338" y="194"/>
                  </a:lnTo>
                  <a:lnTo>
                    <a:pt x="355" y="181"/>
                  </a:lnTo>
                  <a:lnTo>
                    <a:pt x="374" y="167"/>
                  </a:lnTo>
                  <a:lnTo>
                    <a:pt x="393" y="154"/>
                  </a:lnTo>
                  <a:lnTo>
                    <a:pt x="414" y="142"/>
                  </a:lnTo>
                  <a:lnTo>
                    <a:pt x="435" y="131"/>
                  </a:lnTo>
                  <a:lnTo>
                    <a:pt x="457" y="120"/>
                  </a:lnTo>
                  <a:lnTo>
                    <a:pt x="480" y="111"/>
                  </a:lnTo>
                  <a:lnTo>
                    <a:pt x="505" y="102"/>
                  </a:lnTo>
                  <a:lnTo>
                    <a:pt x="531" y="94"/>
                  </a:lnTo>
                  <a:lnTo>
                    <a:pt x="557" y="88"/>
                  </a:lnTo>
                  <a:lnTo>
                    <a:pt x="585" y="82"/>
                  </a:lnTo>
                  <a:lnTo>
                    <a:pt x="614" y="78"/>
                  </a:lnTo>
                  <a:lnTo>
                    <a:pt x="645" y="75"/>
                  </a:lnTo>
                  <a:lnTo>
                    <a:pt x="677" y="72"/>
                  </a:lnTo>
                  <a:lnTo>
                    <a:pt x="680" y="72"/>
                  </a:lnTo>
                  <a:lnTo>
                    <a:pt x="683" y="70"/>
                  </a:lnTo>
                  <a:lnTo>
                    <a:pt x="686" y="69"/>
                  </a:lnTo>
                  <a:lnTo>
                    <a:pt x="688" y="67"/>
                  </a:lnTo>
                  <a:lnTo>
                    <a:pt x="691" y="65"/>
                  </a:lnTo>
                  <a:lnTo>
                    <a:pt x="692" y="62"/>
                  </a:lnTo>
                  <a:lnTo>
                    <a:pt x="694" y="59"/>
                  </a:lnTo>
                  <a:lnTo>
                    <a:pt x="694" y="56"/>
                  </a:lnTo>
                  <a:lnTo>
                    <a:pt x="695" y="51"/>
                  </a:lnTo>
                  <a:lnTo>
                    <a:pt x="694" y="45"/>
                  </a:lnTo>
                  <a:lnTo>
                    <a:pt x="693" y="40"/>
                  </a:lnTo>
                  <a:lnTo>
                    <a:pt x="690" y="34"/>
                  </a:lnTo>
                  <a:lnTo>
                    <a:pt x="686" y="29"/>
                  </a:lnTo>
                  <a:lnTo>
                    <a:pt x="681" y="24"/>
                  </a:lnTo>
                  <a:lnTo>
                    <a:pt x="674" y="18"/>
                  </a:lnTo>
                  <a:lnTo>
                    <a:pt x="667" y="14"/>
                  </a:lnTo>
                  <a:lnTo>
                    <a:pt x="657" y="11"/>
                  </a:lnTo>
                  <a:lnTo>
                    <a:pt x="648" y="8"/>
                  </a:lnTo>
                  <a:lnTo>
                    <a:pt x="638" y="6"/>
                  </a:lnTo>
                  <a:lnTo>
                    <a:pt x="628" y="4"/>
                  </a:lnTo>
                  <a:lnTo>
                    <a:pt x="604" y="1"/>
                  </a:lnTo>
                  <a:lnTo>
                    <a:pt x="579" y="0"/>
                  </a:lnTo>
                  <a:lnTo>
                    <a:pt x="558" y="0"/>
                  </a:lnTo>
                  <a:lnTo>
                    <a:pt x="536" y="2"/>
                  </a:lnTo>
                  <a:lnTo>
                    <a:pt x="515" y="5"/>
                  </a:lnTo>
                  <a:lnTo>
                    <a:pt x="491" y="8"/>
                  </a:lnTo>
                  <a:lnTo>
                    <a:pt x="469" y="13"/>
                  </a:lnTo>
                  <a:lnTo>
                    <a:pt x="445" y="19"/>
                  </a:lnTo>
                  <a:lnTo>
                    <a:pt x="422" y="26"/>
                  </a:lnTo>
                  <a:lnTo>
                    <a:pt x="397" y="33"/>
                  </a:lnTo>
                  <a:lnTo>
                    <a:pt x="374" y="41"/>
                  </a:lnTo>
                  <a:lnTo>
                    <a:pt x="350" y="50"/>
                  </a:lnTo>
                  <a:lnTo>
                    <a:pt x="328" y="60"/>
                  </a:lnTo>
                  <a:lnTo>
                    <a:pt x="305" y="70"/>
                  </a:lnTo>
                  <a:lnTo>
                    <a:pt x="283" y="82"/>
                  </a:lnTo>
                  <a:lnTo>
                    <a:pt x="262" y="94"/>
                  </a:lnTo>
                  <a:lnTo>
                    <a:pt x="240" y="106"/>
                  </a:lnTo>
                  <a:lnTo>
                    <a:pt x="221" y="119"/>
                  </a:lnTo>
                  <a:lnTo>
                    <a:pt x="214" y="124"/>
                  </a:lnTo>
                  <a:lnTo>
                    <a:pt x="212" y="116"/>
                  </a:lnTo>
                  <a:lnTo>
                    <a:pt x="209" y="110"/>
                  </a:lnTo>
                  <a:lnTo>
                    <a:pt x="200" y="101"/>
                  </a:lnTo>
                  <a:lnTo>
                    <a:pt x="190" y="91"/>
                  </a:lnTo>
                  <a:lnTo>
                    <a:pt x="176" y="79"/>
                  </a:lnTo>
                  <a:lnTo>
                    <a:pt x="160" y="66"/>
                  </a:lnTo>
                  <a:lnTo>
                    <a:pt x="142" y="55"/>
                  </a:lnTo>
                  <a:lnTo>
                    <a:pt x="133" y="50"/>
                  </a:lnTo>
                  <a:lnTo>
                    <a:pt x="124" y="46"/>
                  </a:lnTo>
                  <a:lnTo>
                    <a:pt x="114" y="42"/>
                  </a:lnTo>
                  <a:lnTo>
                    <a:pt x="104" y="40"/>
                  </a:lnTo>
                  <a:lnTo>
                    <a:pt x="96" y="38"/>
                  </a:lnTo>
                  <a:lnTo>
                    <a:pt x="87" y="36"/>
                  </a:lnTo>
                  <a:lnTo>
                    <a:pt x="79" y="36"/>
                  </a:lnTo>
                  <a:lnTo>
                    <a:pt x="71"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4" name="Freeform 40"/>
            <p:cNvSpPr>
              <a:spLocks/>
            </p:cNvSpPr>
            <p:nvPr userDrawn="1"/>
          </p:nvSpPr>
          <p:spPr bwMode="auto">
            <a:xfrm>
              <a:off x="6388" y="599"/>
              <a:ext cx="74" cy="49"/>
            </a:xfrm>
            <a:custGeom>
              <a:avLst/>
              <a:gdLst>
                <a:gd name="T0" fmla="*/ 144 w 883"/>
                <a:gd name="T1" fmla="*/ 3 h 595"/>
                <a:gd name="T2" fmla="*/ 125 w 883"/>
                <a:gd name="T3" fmla="*/ 13 h 595"/>
                <a:gd name="T4" fmla="*/ 100 w 883"/>
                <a:gd name="T5" fmla="*/ 49 h 595"/>
                <a:gd name="T6" fmla="*/ 55 w 883"/>
                <a:gd name="T7" fmla="*/ 183 h 595"/>
                <a:gd name="T8" fmla="*/ 10 w 883"/>
                <a:gd name="T9" fmla="*/ 382 h 595"/>
                <a:gd name="T10" fmla="*/ 0 w 883"/>
                <a:gd name="T11" fmla="*/ 465 h 595"/>
                <a:gd name="T12" fmla="*/ 7 w 883"/>
                <a:gd name="T13" fmla="*/ 503 h 595"/>
                <a:gd name="T14" fmla="*/ 25 w 883"/>
                <a:gd name="T15" fmla="*/ 532 h 595"/>
                <a:gd name="T16" fmla="*/ 77 w 883"/>
                <a:gd name="T17" fmla="*/ 571 h 595"/>
                <a:gd name="T18" fmla="*/ 122 w 883"/>
                <a:gd name="T19" fmla="*/ 590 h 595"/>
                <a:gd name="T20" fmla="*/ 164 w 883"/>
                <a:gd name="T21" fmla="*/ 595 h 595"/>
                <a:gd name="T22" fmla="*/ 201 w 883"/>
                <a:gd name="T23" fmla="*/ 585 h 595"/>
                <a:gd name="T24" fmla="*/ 234 w 883"/>
                <a:gd name="T25" fmla="*/ 555 h 595"/>
                <a:gd name="T26" fmla="*/ 295 w 883"/>
                <a:gd name="T27" fmla="*/ 487 h 595"/>
                <a:gd name="T28" fmla="*/ 404 w 883"/>
                <a:gd name="T29" fmla="*/ 369 h 595"/>
                <a:gd name="T30" fmla="*/ 491 w 883"/>
                <a:gd name="T31" fmla="*/ 296 h 595"/>
                <a:gd name="T32" fmla="*/ 514 w 883"/>
                <a:gd name="T33" fmla="*/ 299 h 595"/>
                <a:gd name="T34" fmla="*/ 534 w 883"/>
                <a:gd name="T35" fmla="*/ 336 h 595"/>
                <a:gd name="T36" fmla="*/ 568 w 883"/>
                <a:gd name="T37" fmla="*/ 405 h 595"/>
                <a:gd name="T38" fmla="*/ 605 w 883"/>
                <a:gd name="T39" fmla="*/ 459 h 595"/>
                <a:gd name="T40" fmla="*/ 644 w 883"/>
                <a:gd name="T41" fmla="*/ 500 h 595"/>
                <a:gd name="T42" fmla="*/ 693 w 883"/>
                <a:gd name="T43" fmla="*/ 535 h 595"/>
                <a:gd name="T44" fmla="*/ 767 w 883"/>
                <a:gd name="T45" fmla="*/ 561 h 595"/>
                <a:gd name="T46" fmla="*/ 828 w 883"/>
                <a:gd name="T47" fmla="*/ 565 h 595"/>
                <a:gd name="T48" fmla="*/ 868 w 883"/>
                <a:gd name="T49" fmla="*/ 555 h 595"/>
                <a:gd name="T50" fmla="*/ 883 w 883"/>
                <a:gd name="T51" fmla="*/ 533 h 595"/>
                <a:gd name="T52" fmla="*/ 880 w 883"/>
                <a:gd name="T53" fmla="*/ 518 h 595"/>
                <a:gd name="T54" fmla="*/ 868 w 883"/>
                <a:gd name="T55" fmla="*/ 512 h 595"/>
                <a:gd name="T56" fmla="*/ 840 w 883"/>
                <a:gd name="T57" fmla="*/ 510 h 595"/>
                <a:gd name="T58" fmla="*/ 808 w 883"/>
                <a:gd name="T59" fmla="*/ 501 h 595"/>
                <a:gd name="T60" fmla="*/ 781 w 883"/>
                <a:gd name="T61" fmla="*/ 483 h 595"/>
                <a:gd name="T62" fmla="*/ 751 w 883"/>
                <a:gd name="T63" fmla="*/ 440 h 595"/>
                <a:gd name="T64" fmla="*/ 722 w 883"/>
                <a:gd name="T65" fmla="*/ 358 h 595"/>
                <a:gd name="T66" fmla="*/ 694 w 883"/>
                <a:gd name="T67" fmla="*/ 231 h 595"/>
                <a:gd name="T68" fmla="*/ 679 w 883"/>
                <a:gd name="T69" fmla="*/ 197 h 595"/>
                <a:gd name="T70" fmla="*/ 655 w 883"/>
                <a:gd name="T71" fmla="*/ 168 h 595"/>
                <a:gd name="T72" fmla="*/ 622 w 883"/>
                <a:gd name="T73" fmla="*/ 145 h 595"/>
                <a:gd name="T74" fmla="*/ 580 w 883"/>
                <a:gd name="T75" fmla="*/ 127 h 595"/>
                <a:gd name="T76" fmla="*/ 537 w 883"/>
                <a:gd name="T77" fmla="*/ 122 h 595"/>
                <a:gd name="T78" fmla="*/ 494 w 883"/>
                <a:gd name="T79" fmla="*/ 140 h 595"/>
                <a:gd name="T80" fmla="*/ 409 w 883"/>
                <a:gd name="T81" fmla="*/ 209 h 595"/>
                <a:gd name="T82" fmla="*/ 308 w 883"/>
                <a:gd name="T83" fmla="*/ 309 h 595"/>
                <a:gd name="T84" fmla="*/ 207 w 883"/>
                <a:gd name="T85" fmla="*/ 410 h 595"/>
                <a:gd name="T86" fmla="*/ 179 w 883"/>
                <a:gd name="T87" fmla="*/ 427 h 595"/>
                <a:gd name="T88" fmla="*/ 201 w 883"/>
                <a:gd name="T89" fmla="*/ 322 h 595"/>
                <a:gd name="T90" fmla="*/ 255 w 883"/>
                <a:gd name="T91" fmla="*/ 149 h 595"/>
                <a:gd name="T92" fmla="*/ 277 w 883"/>
                <a:gd name="T93" fmla="*/ 89 h 595"/>
                <a:gd name="T94" fmla="*/ 276 w 883"/>
                <a:gd name="T95" fmla="*/ 67 h 595"/>
                <a:gd name="T96" fmla="*/ 261 w 883"/>
                <a:gd name="T97" fmla="*/ 42 h 595"/>
                <a:gd name="T98" fmla="*/ 226 w 883"/>
                <a:gd name="T99" fmla="*/ 18 h 595"/>
                <a:gd name="T100" fmla="*/ 174 w 883"/>
                <a:gd name="T101" fmla="*/ 1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595">
                  <a:moveTo>
                    <a:pt x="162" y="0"/>
                  </a:moveTo>
                  <a:lnTo>
                    <a:pt x="156" y="0"/>
                  </a:lnTo>
                  <a:lnTo>
                    <a:pt x="150" y="1"/>
                  </a:lnTo>
                  <a:lnTo>
                    <a:pt x="144" y="3"/>
                  </a:lnTo>
                  <a:lnTo>
                    <a:pt x="139" y="4"/>
                  </a:lnTo>
                  <a:lnTo>
                    <a:pt x="134" y="7"/>
                  </a:lnTo>
                  <a:lnTo>
                    <a:pt x="129" y="10"/>
                  </a:lnTo>
                  <a:lnTo>
                    <a:pt x="125" y="13"/>
                  </a:lnTo>
                  <a:lnTo>
                    <a:pt x="121" y="17"/>
                  </a:lnTo>
                  <a:lnTo>
                    <a:pt x="113" y="26"/>
                  </a:lnTo>
                  <a:lnTo>
                    <a:pt x="106" y="37"/>
                  </a:lnTo>
                  <a:lnTo>
                    <a:pt x="100" y="49"/>
                  </a:lnTo>
                  <a:lnTo>
                    <a:pt x="94" y="63"/>
                  </a:lnTo>
                  <a:lnTo>
                    <a:pt x="82" y="97"/>
                  </a:lnTo>
                  <a:lnTo>
                    <a:pt x="68" y="137"/>
                  </a:lnTo>
                  <a:lnTo>
                    <a:pt x="55" y="183"/>
                  </a:lnTo>
                  <a:lnTo>
                    <a:pt x="43" y="232"/>
                  </a:lnTo>
                  <a:lnTo>
                    <a:pt x="31" y="282"/>
                  </a:lnTo>
                  <a:lnTo>
                    <a:pt x="19" y="333"/>
                  </a:lnTo>
                  <a:lnTo>
                    <a:pt x="10" y="382"/>
                  </a:lnTo>
                  <a:lnTo>
                    <a:pt x="3" y="429"/>
                  </a:lnTo>
                  <a:lnTo>
                    <a:pt x="1" y="442"/>
                  </a:lnTo>
                  <a:lnTo>
                    <a:pt x="0" y="454"/>
                  </a:lnTo>
                  <a:lnTo>
                    <a:pt x="0" y="465"/>
                  </a:lnTo>
                  <a:lnTo>
                    <a:pt x="1" y="477"/>
                  </a:lnTo>
                  <a:lnTo>
                    <a:pt x="2" y="486"/>
                  </a:lnTo>
                  <a:lnTo>
                    <a:pt x="4" y="495"/>
                  </a:lnTo>
                  <a:lnTo>
                    <a:pt x="7" y="503"/>
                  </a:lnTo>
                  <a:lnTo>
                    <a:pt x="10" y="511"/>
                  </a:lnTo>
                  <a:lnTo>
                    <a:pt x="14" y="518"/>
                  </a:lnTo>
                  <a:lnTo>
                    <a:pt x="19" y="526"/>
                  </a:lnTo>
                  <a:lnTo>
                    <a:pt x="25" y="532"/>
                  </a:lnTo>
                  <a:lnTo>
                    <a:pt x="32" y="539"/>
                  </a:lnTo>
                  <a:lnTo>
                    <a:pt x="47" y="551"/>
                  </a:lnTo>
                  <a:lnTo>
                    <a:pt x="65" y="564"/>
                  </a:lnTo>
                  <a:lnTo>
                    <a:pt x="77" y="571"/>
                  </a:lnTo>
                  <a:lnTo>
                    <a:pt x="89" y="577"/>
                  </a:lnTo>
                  <a:lnTo>
                    <a:pt x="100" y="582"/>
                  </a:lnTo>
                  <a:lnTo>
                    <a:pt x="111" y="587"/>
                  </a:lnTo>
                  <a:lnTo>
                    <a:pt x="122" y="590"/>
                  </a:lnTo>
                  <a:lnTo>
                    <a:pt x="133" y="592"/>
                  </a:lnTo>
                  <a:lnTo>
                    <a:pt x="144" y="594"/>
                  </a:lnTo>
                  <a:lnTo>
                    <a:pt x="154" y="595"/>
                  </a:lnTo>
                  <a:lnTo>
                    <a:pt x="164" y="595"/>
                  </a:lnTo>
                  <a:lnTo>
                    <a:pt x="174" y="593"/>
                  </a:lnTo>
                  <a:lnTo>
                    <a:pt x="184" y="591"/>
                  </a:lnTo>
                  <a:lnTo>
                    <a:pt x="192" y="589"/>
                  </a:lnTo>
                  <a:lnTo>
                    <a:pt x="201" y="585"/>
                  </a:lnTo>
                  <a:lnTo>
                    <a:pt x="208" y="580"/>
                  </a:lnTo>
                  <a:lnTo>
                    <a:pt x="216" y="575"/>
                  </a:lnTo>
                  <a:lnTo>
                    <a:pt x="222" y="567"/>
                  </a:lnTo>
                  <a:lnTo>
                    <a:pt x="234" y="555"/>
                  </a:lnTo>
                  <a:lnTo>
                    <a:pt x="245" y="542"/>
                  </a:lnTo>
                  <a:lnTo>
                    <a:pt x="257" y="530"/>
                  </a:lnTo>
                  <a:lnTo>
                    <a:pt x="268" y="516"/>
                  </a:lnTo>
                  <a:lnTo>
                    <a:pt x="295" y="487"/>
                  </a:lnTo>
                  <a:lnTo>
                    <a:pt x="321" y="456"/>
                  </a:lnTo>
                  <a:lnTo>
                    <a:pt x="349" y="427"/>
                  </a:lnTo>
                  <a:lnTo>
                    <a:pt x="376" y="397"/>
                  </a:lnTo>
                  <a:lnTo>
                    <a:pt x="404" y="369"/>
                  </a:lnTo>
                  <a:lnTo>
                    <a:pt x="431" y="343"/>
                  </a:lnTo>
                  <a:lnTo>
                    <a:pt x="458" y="320"/>
                  </a:lnTo>
                  <a:lnTo>
                    <a:pt x="484" y="300"/>
                  </a:lnTo>
                  <a:lnTo>
                    <a:pt x="491" y="296"/>
                  </a:lnTo>
                  <a:lnTo>
                    <a:pt x="497" y="295"/>
                  </a:lnTo>
                  <a:lnTo>
                    <a:pt x="503" y="295"/>
                  </a:lnTo>
                  <a:lnTo>
                    <a:pt x="509" y="296"/>
                  </a:lnTo>
                  <a:lnTo>
                    <a:pt x="514" y="299"/>
                  </a:lnTo>
                  <a:lnTo>
                    <a:pt x="519" y="303"/>
                  </a:lnTo>
                  <a:lnTo>
                    <a:pt x="523" y="309"/>
                  </a:lnTo>
                  <a:lnTo>
                    <a:pt x="527" y="316"/>
                  </a:lnTo>
                  <a:lnTo>
                    <a:pt x="534" y="336"/>
                  </a:lnTo>
                  <a:lnTo>
                    <a:pt x="543" y="355"/>
                  </a:lnTo>
                  <a:lnTo>
                    <a:pt x="551" y="372"/>
                  </a:lnTo>
                  <a:lnTo>
                    <a:pt x="560" y="390"/>
                  </a:lnTo>
                  <a:lnTo>
                    <a:pt x="568" y="405"/>
                  </a:lnTo>
                  <a:lnTo>
                    <a:pt x="577" y="420"/>
                  </a:lnTo>
                  <a:lnTo>
                    <a:pt x="586" y="434"/>
                  </a:lnTo>
                  <a:lnTo>
                    <a:pt x="596" y="447"/>
                  </a:lnTo>
                  <a:lnTo>
                    <a:pt x="605" y="459"/>
                  </a:lnTo>
                  <a:lnTo>
                    <a:pt x="615" y="470"/>
                  </a:lnTo>
                  <a:lnTo>
                    <a:pt x="624" y="481"/>
                  </a:lnTo>
                  <a:lnTo>
                    <a:pt x="634" y="491"/>
                  </a:lnTo>
                  <a:lnTo>
                    <a:pt x="644" y="500"/>
                  </a:lnTo>
                  <a:lnTo>
                    <a:pt x="654" y="508"/>
                  </a:lnTo>
                  <a:lnTo>
                    <a:pt x="663" y="515"/>
                  </a:lnTo>
                  <a:lnTo>
                    <a:pt x="673" y="523"/>
                  </a:lnTo>
                  <a:lnTo>
                    <a:pt x="693" y="535"/>
                  </a:lnTo>
                  <a:lnTo>
                    <a:pt x="712" y="545"/>
                  </a:lnTo>
                  <a:lnTo>
                    <a:pt x="731" y="552"/>
                  </a:lnTo>
                  <a:lnTo>
                    <a:pt x="749" y="558"/>
                  </a:lnTo>
                  <a:lnTo>
                    <a:pt x="767" y="561"/>
                  </a:lnTo>
                  <a:lnTo>
                    <a:pt x="783" y="564"/>
                  </a:lnTo>
                  <a:lnTo>
                    <a:pt x="799" y="565"/>
                  </a:lnTo>
                  <a:lnTo>
                    <a:pt x="813" y="566"/>
                  </a:lnTo>
                  <a:lnTo>
                    <a:pt x="828" y="565"/>
                  </a:lnTo>
                  <a:lnTo>
                    <a:pt x="843" y="564"/>
                  </a:lnTo>
                  <a:lnTo>
                    <a:pt x="853" y="562"/>
                  </a:lnTo>
                  <a:lnTo>
                    <a:pt x="861" y="559"/>
                  </a:lnTo>
                  <a:lnTo>
                    <a:pt x="868" y="555"/>
                  </a:lnTo>
                  <a:lnTo>
                    <a:pt x="874" y="550"/>
                  </a:lnTo>
                  <a:lnTo>
                    <a:pt x="878" y="545"/>
                  </a:lnTo>
                  <a:lnTo>
                    <a:pt x="881" y="539"/>
                  </a:lnTo>
                  <a:lnTo>
                    <a:pt x="883" y="533"/>
                  </a:lnTo>
                  <a:lnTo>
                    <a:pt x="883" y="528"/>
                  </a:lnTo>
                  <a:lnTo>
                    <a:pt x="883" y="524"/>
                  </a:lnTo>
                  <a:lnTo>
                    <a:pt x="882" y="520"/>
                  </a:lnTo>
                  <a:lnTo>
                    <a:pt x="880" y="518"/>
                  </a:lnTo>
                  <a:lnTo>
                    <a:pt x="878" y="515"/>
                  </a:lnTo>
                  <a:lnTo>
                    <a:pt x="875" y="514"/>
                  </a:lnTo>
                  <a:lnTo>
                    <a:pt x="872" y="512"/>
                  </a:lnTo>
                  <a:lnTo>
                    <a:pt x="868" y="512"/>
                  </a:lnTo>
                  <a:lnTo>
                    <a:pt x="864" y="511"/>
                  </a:lnTo>
                  <a:lnTo>
                    <a:pt x="860" y="511"/>
                  </a:lnTo>
                  <a:lnTo>
                    <a:pt x="851" y="511"/>
                  </a:lnTo>
                  <a:lnTo>
                    <a:pt x="840" y="510"/>
                  </a:lnTo>
                  <a:lnTo>
                    <a:pt x="832" y="509"/>
                  </a:lnTo>
                  <a:lnTo>
                    <a:pt x="823" y="507"/>
                  </a:lnTo>
                  <a:lnTo>
                    <a:pt x="815" y="504"/>
                  </a:lnTo>
                  <a:lnTo>
                    <a:pt x="808" y="501"/>
                  </a:lnTo>
                  <a:lnTo>
                    <a:pt x="801" y="497"/>
                  </a:lnTo>
                  <a:lnTo>
                    <a:pt x="794" y="493"/>
                  </a:lnTo>
                  <a:lnTo>
                    <a:pt x="787" y="488"/>
                  </a:lnTo>
                  <a:lnTo>
                    <a:pt x="781" y="483"/>
                  </a:lnTo>
                  <a:lnTo>
                    <a:pt x="775" y="477"/>
                  </a:lnTo>
                  <a:lnTo>
                    <a:pt x="770" y="469"/>
                  </a:lnTo>
                  <a:lnTo>
                    <a:pt x="760" y="455"/>
                  </a:lnTo>
                  <a:lnTo>
                    <a:pt x="751" y="440"/>
                  </a:lnTo>
                  <a:lnTo>
                    <a:pt x="743" y="421"/>
                  </a:lnTo>
                  <a:lnTo>
                    <a:pt x="735" y="402"/>
                  </a:lnTo>
                  <a:lnTo>
                    <a:pt x="728" y="381"/>
                  </a:lnTo>
                  <a:lnTo>
                    <a:pt x="722" y="358"/>
                  </a:lnTo>
                  <a:lnTo>
                    <a:pt x="711" y="309"/>
                  </a:lnTo>
                  <a:lnTo>
                    <a:pt x="700" y="255"/>
                  </a:lnTo>
                  <a:lnTo>
                    <a:pt x="697" y="240"/>
                  </a:lnTo>
                  <a:lnTo>
                    <a:pt x="694" y="231"/>
                  </a:lnTo>
                  <a:lnTo>
                    <a:pt x="692" y="222"/>
                  </a:lnTo>
                  <a:lnTo>
                    <a:pt x="687" y="213"/>
                  </a:lnTo>
                  <a:lnTo>
                    <a:pt x="683" y="205"/>
                  </a:lnTo>
                  <a:lnTo>
                    <a:pt x="679" y="197"/>
                  </a:lnTo>
                  <a:lnTo>
                    <a:pt x="674" y="189"/>
                  </a:lnTo>
                  <a:lnTo>
                    <a:pt x="668" y="182"/>
                  </a:lnTo>
                  <a:lnTo>
                    <a:pt x="662" y="174"/>
                  </a:lnTo>
                  <a:lnTo>
                    <a:pt x="655" y="168"/>
                  </a:lnTo>
                  <a:lnTo>
                    <a:pt x="648" y="161"/>
                  </a:lnTo>
                  <a:lnTo>
                    <a:pt x="639" y="155"/>
                  </a:lnTo>
                  <a:lnTo>
                    <a:pt x="631" y="150"/>
                  </a:lnTo>
                  <a:lnTo>
                    <a:pt x="622" y="145"/>
                  </a:lnTo>
                  <a:lnTo>
                    <a:pt x="613" y="140"/>
                  </a:lnTo>
                  <a:lnTo>
                    <a:pt x="603" y="135"/>
                  </a:lnTo>
                  <a:lnTo>
                    <a:pt x="592" y="131"/>
                  </a:lnTo>
                  <a:lnTo>
                    <a:pt x="580" y="127"/>
                  </a:lnTo>
                  <a:lnTo>
                    <a:pt x="569" y="124"/>
                  </a:lnTo>
                  <a:lnTo>
                    <a:pt x="559" y="122"/>
                  </a:lnTo>
                  <a:lnTo>
                    <a:pt x="549" y="121"/>
                  </a:lnTo>
                  <a:lnTo>
                    <a:pt x="537" y="122"/>
                  </a:lnTo>
                  <a:lnTo>
                    <a:pt x="527" y="124"/>
                  </a:lnTo>
                  <a:lnTo>
                    <a:pt x="518" y="128"/>
                  </a:lnTo>
                  <a:lnTo>
                    <a:pt x="510" y="131"/>
                  </a:lnTo>
                  <a:lnTo>
                    <a:pt x="494" y="140"/>
                  </a:lnTo>
                  <a:lnTo>
                    <a:pt x="478" y="150"/>
                  </a:lnTo>
                  <a:lnTo>
                    <a:pt x="457" y="167"/>
                  </a:lnTo>
                  <a:lnTo>
                    <a:pt x="433" y="187"/>
                  </a:lnTo>
                  <a:lnTo>
                    <a:pt x="409" y="209"/>
                  </a:lnTo>
                  <a:lnTo>
                    <a:pt x="383" y="233"/>
                  </a:lnTo>
                  <a:lnTo>
                    <a:pt x="358" y="258"/>
                  </a:lnTo>
                  <a:lnTo>
                    <a:pt x="332" y="284"/>
                  </a:lnTo>
                  <a:lnTo>
                    <a:pt x="308" y="309"/>
                  </a:lnTo>
                  <a:lnTo>
                    <a:pt x="284" y="334"/>
                  </a:lnTo>
                  <a:lnTo>
                    <a:pt x="246" y="372"/>
                  </a:lnTo>
                  <a:lnTo>
                    <a:pt x="218" y="400"/>
                  </a:lnTo>
                  <a:lnTo>
                    <a:pt x="207" y="410"/>
                  </a:lnTo>
                  <a:lnTo>
                    <a:pt x="199" y="417"/>
                  </a:lnTo>
                  <a:lnTo>
                    <a:pt x="192" y="423"/>
                  </a:lnTo>
                  <a:lnTo>
                    <a:pt x="188" y="425"/>
                  </a:lnTo>
                  <a:lnTo>
                    <a:pt x="179" y="427"/>
                  </a:lnTo>
                  <a:lnTo>
                    <a:pt x="180" y="417"/>
                  </a:lnTo>
                  <a:lnTo>
                    <a:pt x="185" y="392"/>
                  </a:lnTo>
                  <a:lnTo>
                    <a:pt x="192" y="360"/>
                  </a:lnTo>
                  <a:lnTo>
                    <a:pt x="201" y="322"/>
                  </a:lnTo>
                  <a:lnTo>
                    <a:pt x="211" y="283"/>
                  </a:lnTo>
                  <a:lnTo>
                    <a:pt x="224" y="239"/>
                  </a:lnTo>
                  <a:lnTo>
                    <a:pt x="239" y="194"/>
                  </a:lnTo>
                  <a:lnTo>
                    <a:pt x="255" y="149"/>
                  </a:lnTo>
                  <a:lnTo>
                    <a:pt x="272" y="105"/>
                  </a:lnTo>
                  <a:lnTo>
                    <a:pt x="275" y="100"/>
                  </a:lnTo>
                  <a:lnTo>
                    <a:pt x="276" y="94"/>
                  </a:lnTo>
                  <a:lnTo>
                    <a:pt x="277" y="89"/>
                  </a:lnTo>
                  <a:lnTo>
                    <a:pt x="278" y="84"/>
                  </a:lnTo>
                  <a:lnTo>
                    <a:pt x="278" y="78"/>
                  </a:lnTo>
                  <a:lnTo>
                    <a:pt x="277" y="72"/>
                  </a:lnTo>
                  <a:lnTo>
                    <a:pt x="276" y="67"/>
                  </a:lnTo>
                  <a:lnTo>
                    <a:pt x="274" y="62"/>
                  </a:lnTo>
                  <a:lnTo>
                    <a:pt x="271" y="55"/>
                  </a:lnTo>
                  <a:lnTo>
                    <a:pt x="266" y="48"/>
                  </a:lnTo>
                  <a:lnTo>
                    <a:pt x="261" y="42"/>
                  </a:lnTo>
                  <a:lnTo>
                    <a:pt x="254" y="36"/>
                  </a:lnTo>
                  <a:lnTo>
                    <a:pt x="246" y="30"/>
                  </a:lnTo>
                  <a:lnTo>
                    <a:pt x="237" y="23"/>
                  </a:lnTo>
                  <a:lnTo>
                    <a:pt x="226" y="18"/>
                  </a:lnTo>
                  <a:lnTo>
                    <a:pt x="215" y="13"/>
                  </a:lnTo>
                  <a:lnTo>
                    <a:pt x="201" y="7"/>
                  </a:lnTo>
                  <a:lnTo>
                    <a:pt x="187" y="3"/>
                  </a:lnTo>
                  <a:lnTo>
                    <a:pt x="174" y="1"/>
                  </a:lnTo>
                  <a:lnTo>
                    <a:pt x="16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5" name="Freeform 41"/>
            <p:cNvSpPr>
              <a:spLocks/>
            </p:cNvSpPr>
            <p:nvPr userDrawn="1"/>
          </p:nvSpPr>
          <p:spPr bwMode="auto">
            <a:xfrm>
              <a:off x="6666" y="603"/>
              <a:ext cx="60" cy="44"/>
            </a:xfrm>
            <a:custGeom>
              <a:avLst/>
              <a:gdLst>
                <a:gd name="T0" fmla="*/ 518 w 721"/>
                <a:gd name="T1" fmla="*/ 321 h 522"/>
                <a:gd name="T2" fmla="*/ 536 w 721"/>
                <a:gd name="T3" fmla="*/ 387 h 522"/>
                <a:gd name="T4" fmla="*/ 575 w 721"/>
                <a:gd name="T5" fmla="*/ 455 h 522"/>
                <a:gd name="T6" fmla="*/ 622 w 721"/>
                <a:gd name="T7" fmla="*/ 498 h 522"/>
                <a:gd name="T8" fmla="*/ 664 w 721"/>
                <a:gd name="T9" fmla="*/ 519 h 522"/>
                <a:gd name="T10" fmla="*/ 699 w 721"/>
                <a:gd name="T11" fmla="*/ 522 h 522"/>
                <a:gd name="T12" fmla="*/ 719 w 721"/>
                <a:gd name="T13" fmla="*/ 510 h 522"/>
                <a:gd name="T14" fmla="*/ 717 w 721"/>
                <a:gd name="T15" fmla="*/ 488 h 522"/>
                <a:gd name="T16" fmla="*/ 698 w 721"/>
                <a:gd name="T17" fmla="*/ 444 h 522"/>
                <a:gd name="T18" fmla="*/ 682 w 721"/>
                <a:gd name="T19" fmla="*/ 342 h 522"/>
                <a:gd name="T20" fmla="*/ 685 w 721"/>
                <a:gd name="T21" fmla="*/ 242 h 522"/>
                <a:gd name="T22" fmla="*/ 697 w 721"/>
                <a:gd name="T23" fmla="*/ 155 h 522"/>
                <a:gd name="T24" fmla="*/ 699 w 721"/>
                <a:gd name="T25" fmla="*/ 112 h 522"/>
                <a:gd name="T26" fmla="*/ 687 w 721"/>
                <a:gd name="T27" fmla="*/ 82 h 522"/>
                <a:gd name="T28" fmla="*/ 664 w 721"/>
                <a:gd name="T29" fmla="*/ 59 h 522"/>
                <a:gd name="T30" fmla="*/ 622 w 721"/>
                <a:gd name="T31" fmla="*/ 34 h 522"/>
                <a:gd name="T32" fmla="*/ 574 w 721"/>
                <a:gd name="T33" fmla="*/ 25 h 522"/>
                <a:gd name="T34" fmla="*/ 553 w 721"/>
                <a:gd name="T35" fmla="*/ 38 h 522"/>
                <a:gd name="T36" fmla="*/ 510 w 721"/>
                <a:gd name="T37" fmla="*/ 116 h 522"/>
                <a:gd name="T38" fmla="*/ 432 w 721"/>
                <a:gd name="T39" fmla="*/ 216 h 522"/>
                <a:gd name="T40" fmla="*/ 343 w 721"/>
                <a:gd name="T41" fmla="*/ 300 h 522"/>
                <a:gd name="T42" fmla="*/ 291 w 721"/>
                <a:gd name="T43" fmla="*/ 334 h 522"/>
                <a:gd name="T44" fmla="*/ 254 w 721"/>
                <a:gd name="T45" fmla="*/ 345 h 522"/>
                <a:gd name="T46" fmla="*/ 222 w 721"/>
                <a:gd name="T47" fmla="*/ 342 h 522"/>
                <a:gd name="T48" fmla="*/ 197 w 721"/>
                <a:gd name="T49" fmla="*/ 326 h 522"/>
                <a:gd name="T50" fmla="*/ 183 w 721"/>
                <a:gd name="T51" fmla="*/ 290 h 522"/>
                <a:gd name="T52" fmla="*/ 183 w 721"/>
                <a:gd name="T53" fmla="*/ 242 h 522"/>
                <a:gd name="T54" fmla="*/ 195 w 721"/>
                <a:gd name="T55" fmla="*/ 187 h 522"/>
                <a:gd name="T56" fmla="*/ 225 w 721"/>
                <a:gd name="T57" fmla="*/ 111 h 522"/>
                <a:gd name="T58" fmla="*/ 231 w 721"/>
                <a:gd name="T59" fmla="*/ 83 h 522"/>
                <a:gd name="T60" fmla="*/ 225 w 721"/>
                <a:gd name="T61" fmla="*/ 58 h 522"/>
                <a:gd name="T62" fmla="*/ 205 w 721"/>
                <a:gd name="T63" fmla="*/ 36 h 522"/>
                <a:gd name="T64" fmla="*/ 163 w 721"/>
                <a:gd name="T65" fmla="*/ 12 h 522"/>
                <a:gd name="T66" fmla="*/ 123 w 721"/>
                <a:gd name="T67" fmla="*/ 1 h 522"/>
                <a:gd name="T68" fmla="*/ 91 w 721"/>
                <a:gd name="T69" fmla="*/ 5 h 522"/>
                <a:gd name="T70" fmla="*/ 68 w 721"/>
                <a:gd name="T71" fmla="*/ 26 h 522"/>
                <a:gd name="T72" fmla="*/ 42 w 721"/>
                <a:gd name="T73" fmla="*/ 90 h 522"/>
                <a:gd name="T74" fmla="*/ 9 w 721"/>
                <a:gd name="T75" fmla="*/ 214 h 522"/>
                <a:gd name="T76" fmla="*/ 0 w 721"/>
                <a:gd name="T77" fmla="*/ 279 h 522"/>
                <a:gd name="T78" fmla="*/ 5 w 721"/>
                <a:gd name="T79" fmla="*/ 313 h 522"/>
                <a:gd name="T80" fmla="*/ 34 w 721"/>
                <a:gd name="T81" fmla="*/ 375 h 522"/>
                <a:gd name="T82" fmla="*/ 73 w 721"/>
                <a:gd name="T83" fmla="*/ 418 h 522"/>
                <a:gd name="T84" fmla="*/ 112 w 721"/>
                <a:gd name="T85" fmla="*/ 446 h 522"/>
                <a:gd name="T86" fmla="*/ 155 w 721"/>
                <a:gd name="T87" fmla="*/ 466 h 522"/>
                <a:gd name="T88" fmla="*/ 198 w 721"/>
                <a:gd name="T89" fmla="*/ 475 h 522"/>
                <a:gd name="T90" fmla="*/ 251 w 721"/>
                <a:gd name="T91" fmla="*/ 469 h 522"/>
                <a:gd name="T92" fmla="*/ 316 w 721"/>
                <a:gd name="T93" fmla="*/ 440 h 522"/>
                <a:gd name="T94" fmla="*/ 394 w 721"/>
                <a:gd name="T95" fmla="*/ 388 h 522"/>
                <a:gd name="T96" fmla="*/ 483 w 721"/>
                <a:gd name="T97" fmla="*/ 313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21" h="522">
                  <a:moveTo>
                    <a:pt x="515" y="282"/>
                  </a:moveTo>
                  <a:lnTo>
                    <a:pt x="516" y="294"/>
                  </a:lnTo>
                  <a:lnTo>
                    <a:pt x="516" y="307"/>
                  </a:lnTo>
                  <a:lnTo>
                    <a:pt x="518" y="321"/>
                  </a:lnTo>
                  <a:lnTo>
                    <a:pt x="520" y="332"/>
                  </a:lnTo>
                  <a:lnTo>
                    <a:pt x="522" y="344"/>
                  </a:lnTo>
                  <a:lnTo>
                    <a:pt x="528" y="367"/>
                  </a:lnTo>
                  <a:lnTo>
                    <a:pt x="536" y="387"/>
                  </a:lnTo>
                  <a:lnTo>
                    <a:pt x="544" y="406"/>
                  </a:lnTo>
                  <a:lnTo>
                    <a:pt x="553" y="424"/>
                  </a:lnTo>
                  <a:lnTo>
                    <a:pt x="564" y="440"/>
                  </a:lnTo>
                  <a:lnTo>
                    <a:pt x="575" y="455"/>
                  </a:lnTo>
                  <a:lnTo>
                    <a:pt x="587" y="468"/>
                  </a:lnTo>
                  <a:lnTo>
                    <a:pt x="599" y="480"/>
                  </a:lnTo>
                  <a:lnTo>
                    <a:pt x="610" y="490"/>
                  </a:lnTo>
                  <a:lnTo>
                    <a:pt x="622" y="498"/>
                  </a:lnTo>
                  <a:lnTo>
                    <a:pt x="634" y="505"/>
                  </a:lnTo>
                  <a:lnTo>
                    <a:pt x="645" y="511"/>
                  </a:lnTo>
                  <a:lnTo>
                    <a:pt x="655" y="516"/>
                  </a:lnTo>
                  <a:lnTo>
                    <a:pt x="664" y="519"/>
                  </a:lnTo>
                  <a:lnTo>
                    <a:pt x="673" y="521"/>
                  </a:lnTo>
                  <a:lnTo>
                    <a:pt x="683" y="522"/>
                  </a:lnTo>
                  <a:lnTo>
                    <a:pt x="692" y="522"/>
                  </a:lnTo>
                  <a:lnTo>
                    <a:pt x="699" y="522"/>
                  </a:lnTo>
                  <a:lnTo>
                    <a:pt x="706" y="520"/>
                  </a:lnTo>
                  <a:lnTo>
                    <a:pt x="712" y="518"/>
                  </a:lnTo>
                  <a:lnTo>
                    <a:pt x="716" y="515"/>
                  </a:lnTo>
                  <a:lnTo>
                    <a:pt x="719" y="510"/>
                  </a:lnTo>
                  <a:lnTo>
                    <a:pt x="721" y="505"/>
                  </a:lnTo>
                  <a:lnTo>
                    <a:pt x="721" y="500"/>
                  </a:lnTo>
                  <a:lnTo>
                    <a:pt x="720" y="494"/>
                  </a:lnTo>
                  <a:lnTo>
                    <a:pt x="717" y="488"/>
                  </a:lnTo>
                  <a:lnTo>
                    <a:pt x="711" y="478"/>
                  </a:lnTo>
                  <a:lnTo>
                    <a:pt x="706" y="467"/>
                  </a:lnTo>
                  <a:lnTo>
                    <a:pt x="702" y="455"/>
                  </a:lnTo>
                  <a:lnTo>
                    <a:pt x="698" y="444"/>
                  </a:lnTo>
                  <a:lnTo>
                    <a:pt x="692" y="420"/>
                  </a:lnTo>
                  <a:lnTo>
                    <a:pt x="687" y="394"/>
                  </a:lnTo>
                  <a:lnTo>
                    <a:pt x="684" y="368"/>
                  </a:lnTo>
                  <a:lnTo>
                    <a:pt x="682" y="342"/>
                  </a:lnTo>
                  <a:lnTo>
                    <a:pt x="682" y="315"/>
                  </a:lnTo>
                  <a:lnTo>
                    <a:pt x="682" y="290"/>
                  </a:lnTo>
                  <a:lnTo>
                    <a:pt x="683" y="265"/>
                  </a:lnTo>
                  <a:lnTo>
                    <a:pt x="685" y="242"/>
                  </a:lnTo>
                  <a:lnTo>
                    <a:pt x="687" y="221"/>
                  </a:lnTo>
                  <a:lnTo>
                    <a:pt x="690" y="202"/>
                  </a:lnTo>
                  <a:lnTo>
                    <a:pt x="694" y="172"/>
                  </a:lnTo>
                  <a:lnTo>
                    <a:pt x="697" y="155"/>
                  </a:lnTo>
                  <a:lnTo>
                    <a:pt x="699" y="143"/>
                  </a:lnTo>
                  <a:lnTo>
                    <a:pt x="700" y="132"/>
                  </a:lnTo>
                  <a:lnTo>
                    <a:pt x="700" y="122"/>
                  </a:lnTo>
                  <a:lnTo>
                    <a:pt x="699" y="112"/>
                  </a:lnTo>
                  <a:lnTo>
                    <a:pt x="697" y="103"/>
                  </a:lnTo>
                  <a:lnTo>
                    <a:pt x="695" y="96"/>
                  </a:lnTo>
                  <a:lnTo>
                    <a:pt x="691" y="89"/>
                  </a:lnTo>
                  <a:lnTo>
                    <a:pt x="687" y="82"/>
                  </a:lnTo>
                  <a:lnTo>
                    <a:pt x="682" y="76"/>
                  </a:lnTo>
                  <a:lnTo>
                    <a:pt x="676" y="69"/>
                  </a:lnTo>
                  <a:lnTo>
                    <a:pt x="671" y="64"/>
                  </a:lnTo>
                  <a:lnTo>
                    <a:pt x="664" y="59"/>
                  </a:lnTo>
                  <a:lnTo>
                    <a:pt x="651" y="50"/>
                  </a:lnTo>
                  <a:lnTo>
                    <a:pt x="638" y="42"/>
                  </a:lnTo>
                  <a:lnTo>
                    <a:pt x="636" y="41"/>
                  </a:lnTo>
                  <a:lnTo>
                    <a:pt x="622" y="34"/>
                  </a:lnTo>
                  <a:lnTo>
                    <a:pt x="609" y="29"/>
                  </a:lnTo>
                  <a:lnTo>
                    <a:pt x="596" y="26"/>
                  </a:lnTo>
                  <a:lnTo>
                    <a:pt x="584" y="24"/>
                  </a:lnTo>
                  <a:lnTo>
                    <a:pt x="574" y="25"/>
                  </a:lnTo>
                  <a:lnTo>
                    <a:pt x="565" y="28"/>
                  </a:lnTo>
                  <a:lnTo>
                    <a:pt x="561" y="30"/>
                  </a:lnTo>
                  <a:lnTo>
                    <a:pt x="557" y="34"/>
                  </a:lnTo>
                  <a:lnTo>
                    <a:pt x="553" y="38"/>
                  </a:lnTo>
                  <a:lnTo>
                    <a:pt x="551" y="43"/>
                  </a:lnTo>
                  <a:lnTo>
                    <a:pt x="540" y="66"/>
                  </a:lnTo>
                  <a:lnTo>
                    <a:pt x="526" y="91"/>
                  </a:lnTo>
                  <a:lnTo>
                    <a:pt x="510" y="116"/>
                  </a:lnTo>
                  <a:lnTo>
                    <a:pt x="493" y="142"/>
                  </a:lnTo>
                  <a:lnTo>
                    <a:pt x="473" y="167"/>
                  </a:lnTo>
                  <a:lnTo>
                    <a:pt x="453" y="192"/>
                  </a:lnTo>
                  <a:lnTo>
                    <a:pt x="432" y="216"/>
                  </a:lnTo>
                  <a:lnTo>
                    <a:pt x="409" y="240"/>
                  </a:lnTo>
                  <a:lnTo>
                    <a:pt x="388" y="262"/>
                  </a:lnTo>
                  <a:lnTo>
                    <a:pt x="365" y="282"/>
                  </a:lnTo>
                  <a:lnTo>
                    <a:pt x="343" y="300"/>
                  </a:lnTo>
                  <a:lnTo>
                    <a:pt x="322" y="315"/>
                  </a:lnTo>
                  <a:lnTo>
                    <a:pt x="310" y="323"/>
                  </a:lnTo>
                  <a:lnTo>
                    <a:pt x="300" y="329"/>
                  </a:lnTo>
                  <a:lnTo>
                    <a:pt x="291" y="334"/>
                  </a:lnTo>
                  <a:lnTo>
                    <a:pt x="281" y="338"/>
                  </a:lnTo>
                  <a:lnTo>
                    <a:pt x="272" y="341"/>
                  </a:lnTo>
                  <a:lnTo>
                    <a:pt x="262" y="344"/>
                  </a:lnTo>
                  <a:lnTo>
                    <a:pt x="254" y="345"/>
                  </a:lnTo>
                  <a:lnTo>
                    <a:pt x="246" y="346"/>
                  </a:lnTo>
                  <a:lnTo>
                    <a:pt x="238" y="345"/>
                  </a:lnTo>
                  <a:lnTo>
                    <a:pt x="230" y="344"/>
                  </a:lnTo>
                  <a:lnTo>
                    <a:pt x="222" y="342"/>
                  </a:lnTo>
                  <a:lnTo>
                    <a:pt x="214" y="339"/>
                  </a:lnTo>
                  <a:lnTo>
                    <a:pt x="208" y="336"/>
                  </a:lnTo>
                  <a:lnTo>
                    <a:pt x="202" y="331"/>
                  </a:lnTo>
                  <a:lnTo>
                    <a:pt x="197" y="326"/>
                  </a:lnTo>
                  <a:lnTo>
                    <a:pt x="193" y="320"/>
                  </a:lnTo>
                  <a:lnTo>
                    <a:pt x="188" y="310"/>
                  </a:lnTo>
                  <a:lnTo>
                    <a:pt x="185" y="301"/>
                  </a:lnTo>
                  <a:lnTo>
                    <a:pt x="183" y="290"/>
                  </a:lnTo>
                  <a:lnTo>
                    <a:pt x="181" y="279"/>
                  </a:lnTo>
                  <a:lnTo>
                    <a:pt x="181" y="267"/>
                  </a:lnTo>
                  <a:lnTo>
                    <a:pt x="181" y="255"/>
                  </a:lnTo>
                  <a:lnTo>
                    <a:pt x="183" y="242"/>
                  </a:lnTo>
                  <a:lnTo>
                    <a:pt x="185" y="229"/>
                  </a:lnTo>
                  <a:lnTo>
                    <a:pt x="187" y="214"/>
                  </a:lnTo>
                  <a:lnTo>
                    <a:pt x="191" y="201"/>
                  </a:lnTo>
                  <a:lnTo>
                    <a:pt x="195" y="187"/>
                  </a:lnTo>
                  <a:lnTo>
                    <a:pt x="199" y="174"/>
                  </a:lnTo>
                  <a:lnTo>
                    <a:pt x="209" y="146"/>
                  </a:lnTo>
                  <a:lnTo>
                    <a:pt x="221" y="120"/>
                  </a:lnTo>
                  <a:lnTo>
                    <a:pt x="225" y="111"/>
                  </a:lnTo>
                  <a:lnTo>
                    <a:pt x="227" y="104"/>
                  </a:lnTo>
                  <a:lnTo>
                    <a:pt x="229" y="97"/>
                  </a:lnTo>
                  <a:lnTo>
                    <a:pt x="231" y="90"/>
                  </a:lnTo>
                  <a:lnTo>
                    <a:pt x="231" y="83"/>
                  </a:lnTo>
                  <a:lnTo>
                    <a:pt x="231" y="77"/>
                  </a:lnTo>
                  <a:lnTo>
                    <a:pt x="229" y="71"/>
                  </a:lnTo>
                  <a:lnTo>
                    <a:pt x="228" y="64"/>
                  </a:lnTo>
                  <a:lnTo>
                    <a:pt x="225" y="58"/>
                  </a:lnTo>
                  <a:lnTo>
                    <a:pt x="221" y="52"/>
                  </a:lnTo>
                  <a:lnTo>
                    <a:pt x="216" y="47"/>
                  </a:lnTo>
                  <a:lnTo>
                    <a:pt x="211" y="42"/>
                  </a:lnTo>
                  <a:lnTo>
                    <a:pt x="205" y="36"/>
                  </a:lnTo>
                  <a:lnTo>
                    <a:pt x="198" y="31"/>
                  </a:lnTo>
                  <a:lnTo>
                    <a:pt x="190" y="26"/>
                  </a:lnTo>
                  <a:lnTo>
                    <a:pt x="181" y="20"/>
                  </a:lnTo>
                  <a:lnTo>
                    <a:pt x="163" y="12"/>
                  </a:lnTo>
                  <a:lnTo>
                    <a:pt x="146" y="5"/>
                  </a:lnTo>
                  <a:lnTo>
                    <a:pt x="138" y="3"/>
                  </a:lnTo>
                  <a:lnTo>
                    <a:pt x="130" y="2"/>
                  </a:lnTo>
                  <a:lnTo>
                    <a:pt x="123" y="1"/>
                  </a:lnTo>
                  <a:lnTo>
                    <a:pt x="115" y="0"/>
                  </a:lnTo>
                  <a:lnTo>
                    <a:pt x="106" y="1"/>
                  </a:lnTo>
                  <a:lnTo>
                    <a:pt x="98" y="2"/>
                  </a:lnTo>
                  <a:lnTo>
                    <a:pt x="91" y="5"/>
                  </a:lnTo>
                  <a:lnTo>
                    <a:pt x="84" y="8"/>
                  </a:lnTo>
                  <a:lnTo>
                    <a:pt x="78" y="13"/>
                  </a:lnTo>
                  <a:lnTo>
                    <a:pt x="73" y="18"/>
                  </a:lnTo>
                  <a:lnTo>
                    <a:pt x="68" y="26"/>
                  </a:lnTo>
                  <a:lnTo>
                    <a:pt x="63" y="33"/>
                  </a:lnTo>
                  <a:lnTo>
                    <a:pt x="57" y="48"/>
                  </a:lnTo>
                  <a:lnTo>
                    <a:pt x="50" y="66"/>
                  </a:lnTo>
                  <a:lnTo>
                    <a:pt x="42" y="90"/>
                  </a:lnTo>
                  <a:lnTo>
                    <a:pt x="34" y="116"/>
                  </a:lnTo>
                  <a:lnTo>
                    <a:pt x="25" y="146"/>
                  </a:lnTo>
                  <a:lnTo>
                    <a:pt x="17" y="179"/>
                  </a:lnTo>
                  <a:lnTo>
                    <a:pt x="9" y="214"/>
                  </a:lnTo>
                  <a:lnTo>
                    <a:pt x="2" y="252"/>
                  </a:lnTo>
                  <a:lnTo>
                    <a:pt x="1" y="260"/>
                  </a:lnTo>
                  <a:lnTo>
                    <a:pt x="0" y="270"/>
                  </a:lnTo>
                  <a:lnTo>
                    <a:pt x="0" y="279"/>
                  </a:lnTo>
                  <a:lnTo>
                    <a:pt x="1" y="287"/>
                  </a:lnTo>
                  <a:lnTo>
                    <a:pt x="2" y="296"/>
                  </a:lnTo>
                  <a:lnTo>
                    <a:pt x="3" y="305"/>
                  </a:lnTo>
                  <a:lnTo>
                    <a:pt x="5" y="313"/>
                  </a:lnTo>
                  <a:lnTo>
                    <a:pt x="8" y="323"/>
                  </a:lnTo>
                  <a:lnTo>
                    <a:pt x="14" y="340"/>
                  </a:lnTo>
                  <a:lnTo>
                    <a:pt x="24" y="357"/>
                  </a:lnTo>
                  <a:lnTo>
                    <a:pt x="34" y="375"/>
                  </a:lnTo>
                  <a:lnTo>
                    <a:pt x="46" y="391"/>
                  </a:lnTo>
                  <a:lnTo>
                    <a:pt x="55" y="400"/>
                  </a:lnTo>
                  <a:lnTo>
                    <a:pt x="63" y="408"/>
                  </a:lnTo>
                  <a:lnTo>
                    <a:pt x="73" y="418"/>
                  </a:lnTo>
                  <a:lnTo>
                    <a:pt x="83" y="425"/>
                  </a:lnTo>
                  <a:lnTo>
                    <a:pt x="92" y="433"/>
                  </a:lnTo>
                  <a:lnTo>
                    <a:pt x="102" y="440"/>
                  </a:lnTo>
                  <a:lnTo>
                    <a:pt x="112" y="446"/>
                  </a:lnTo>
                  <a:lnTo>
                    <a:pt x="124" y="452"/>
                  </a:lnTo>
                  <a:lnTo>
                    <a:pt x="134" y="457"/>
                  </a:lnTo>
                  <a:lnTo>
                    <a:pt x="145" y="461"/>
                  </a:lnTo>
                  <a:lnTo>
                    <a:pt x="155" y="466"/>
                  </a:lnTo>
                  <a:lnTo>
                    <a:pt x="166" y="469"/>
                  </a:lnTo>
                  <a:lnTo>
                    <a:pt x="177" y="472"/>
                  </a:lnTo>
                  <a:lnTo>
                    <a:pt x="188" y="474"/>
                  </a:lnTo>
                  <a:lnTo>
                    <a:pt x="198" y="475"/>
                  </a:lnTo>
                  <a:lnTo>
                    <a:pt x="208" y="475"/>
                  </a:lnTo>
                  <a:lnTo>
                    <a:pt x="222" y="475"/>
                  </a:lnTo>
                  <a:lnTo>
                    <a:pt x="236" y="473"/>
                  </a:lnTo>
                  <a:lnTo>
                    <a:pt x="251" y="469"/>
                  </a:lnTo>
                  <a:lnTo>
                    <a:pt x="266" y="463"/>
                  </a:lnTo>
                  <a:lnTo>
                    <a:pt x="283" y="457"/>
                  </a:lnTo>
                  <a:lnTo>
                    <a:pt x="299" y="449"/>
                  </a:lnTo>
                  <a:lnTo>
                    <a:pt x="316" y="440"/>
                  </a:lnTo>
                  <a:lnTo>
                    <a:pt x="335" y="430"/>
                  </a:lnTo>
                  <a:lnTo>
                    <a:pt x="354" y="418"/>
                  </a:lnTo>
                  <a:lnTo>
                    <a:pt x="374" y="403"/>
                  </a:lnTo>
                  <a:lnTo>
                    <a:pt x="394" y="388"/>
                  </a:lnTo>
                  <a:lnTo>
                    <a:pt x="414" y="372"/>
                  </a:lnTo>
                  <a:lnTo>
                    <a:pt x="437" y="353"/>
                  </a:lnTo>
                  <a:lnTo>
                    <a:pt x="459" y="334"/>
                  </a:lnTo>
                  <a:lnTo>
                    <a:pt x="483" y="313"/>
                  </a:lnTo>
                  <a:lnTo>
                    <a:pt x="506" y="291"/>
                  </a:lnTo>
                  <a:lnTo>
                    <a:pt x="515" y="28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6" name="Freeform 42"/>
            <p:cNvSpPr>
              <a:spLocks/>
            </p:cNvSpPr>
            <p:nvPr userDrawn="1"/>
          </p:nvSpPr>
          <p:spPr bwMode="auto">
            <a:xfrm>
              <a:off x="6739" y="604"/>
              <a:ext cx="18" cy="42"/>
            </a:xfrm>
            <a:custGeom>
              <a:avLst/>
              <a:gdLst>
                <a:gd name="T0" fmla="*/ 85 w 214"/>
                <a:gd name="T1" fmla="*/ 0 h 504"/>
                <a:gd name="T2" fmla="*/ 74 w 214"/>
                <a:gd name="T3" fmla="*/ 2 h 504"/>
                <a:gd name="T4" fmla="*/ 65 w 214"/>
                <a:gd name="T5" fmla="*/ 6 h 504"/>
                <a:gd name="T6" fmla="*/ 56 w 214"/>
                <a:gd name="T7" fmla="*/ 13 h 504"/>
                <a:gd name="T8" fmla="*/ 44 w 214"/>
                <a:gd name="T9" fmla="*/ 29 h 504"/>
                <a:gd name="T10" fmla="*/ 31 w 214"/>
                <a:gd name="T11" fmla="*/ 57 h 504"/>
                <a:gd name="T12" fmla="*/ 19 w 214"/>
                <a:gd name="T13" fmla="*/ 102 h 504"/>
                <a:gd name="T14" fmla="*/ 9 w 214"/>
                <a:gd name="T15" fmla="*/ 155 h 504"/>
                <a:gd name="T16" fmla="*/ 2 w 214"/>
                <a:gd name="T17" fmla="*/ 206 h 504"/>
                <a:gd name="T18" fmla="*/ 0 w 214"/>
                <a:gd name="T19" fmla="*/ 254 h 504"/>
                <a:gd name="T20" fmla="*/ 2 w 214"/>
                <a:gd name="T21" fmla="*/ 299 h 504"/>
                <a:gd name="T22" fmla="*/ 9 w 214"/>
                <a:gd name="T23" fmla="*/ 341 h 504"/>
                <a:gd name="T24" fmla="*/ 19 w 214"/>
                <a:gd name="T25" fmla="*/ 380 h 504"/>
                <a:gd name="T26" fmla="*/ 33 w 214"/>
                <a:gd name="T27" fmla="*/ 413 h 504"/>
                <a:gd name="T28" fmla="*/ 51 w 214"/>
                <a:gd name="T29" fmla="*/ 443 h 504"/>
                <a:gd name="T30" fmla="*/ 74 w 214"/>
                <a:gd name="T31" fmla="*/ 468 h 504"/>
                <a:gd name="T32" fmla="*/ 100 w 214"/>
                <a:gd name="T33" fmla="*/ 486 h 504"/>
                <a:gd name="T34" fmla="*/ 130 w 214"/>
                <a:gd name="T35" fmla="*/ 498 h 504"/>
                <a:gd name="T36" fmla="*/ 154 w 214"/>
                <a:gd name="T37" fmla="*/ 504 h 504"/>
                <a:gd name="T38" fmla="*/ 171 w 214"/>
                <a:gd name="T39" fmla="*/ 504 h 504"/>
                <a:gd name="T40" fmla="*/ 184 w 214"/>
                <a:gd name="T41" fmla="*/ 502 h 504"/>
                <a:gd name="T42" fmla="*/ 194 w 214"/>
                <a:gd name="T43" fmla="*/ 497 h 504"/>
                <a:gd name="T44" fmla="*/ 199 w 214"/>
                <a:gd name="T45" fmla="*/ 488 h 504"/>
                <a:gd name="T46" fmla="*/ 199 w 214"/>
                <a:gd name="T47" fmla="*/ 479 h 504"/>
                <a:gd name="T48" fmla="*/ 191 w 214"/>
                <a:gd name="T49" fmla="*/ 459 h 504"/>
                <a:gd name="T50" fmla="*/ 180 w 214"/>
                <a:gd name="T51" fmla="*/ 424 h 504"/>
                <a:gd name="T52" fmla="*/ 172 w 214"/>
                <a:gd name="T53" fmla="*/ 384 h 504"/>
                <a:gd name="T54" fmla="*/ 167 w 214"/>
                <a:gd name="T55" fmla="*/ 341 h 504"/>
                <a:gd name="T56" fmla="*/ 167 w 214"/>
                <a:gd name="T57" fmla="*/ 295 h 504"/>
                <a:gd name="T58" fmla="*/ 170 w 214"/>
                <a:gd name="T59" fmla="*/ 249 h 504"/>
                <a:gd name="T60" fmla="*/ 179 w 214"/>
                <a:gd name="T61" fmla="*/ 202 h 504"/>
                <a:gd name="T62" fmla="*/ 192 w 214"/>
                <a:gd name="T63" fmla="*/ 157 h 504"/>
                <a:gd name="T64" fmla="*/ 205 w 214"/>
                <a:gd name="T65" fmla="*/ 125 h 504"/>
                <a:gd name="T66" fmla="*/ 212 w 214"/>
                <a:gd name="T67" fmla="*/ 104 h 504"/>
                <a:gd name="T68" fmla="*/ 214 w 214"/>
                <a:gd name="T69" fmla="*/ 87 h 504"/>
                <a:gd name="T70" fmla="*/ 212 w 214"/>
                <a:gd name="T71" fmla="*/ 72 h 504"/>
                <a:gd name="T72" fmla="*/ 206 w 214"/>
                <a:gd name="T73" fmla="*/ 57 h 504"/>
                <a:gd name="T74" fmla="*/ 196 w 214"/>
                <a:gd name="T75" fmla="*/ 45 h 504"/>
                <a:gd name="T76" fmla="*/ 183 w 214"/>
                <a:gd name="T77" fmla="*/ 34 h 504"/>
                <a:gd name="T78" fmla="*/ 165 w 214"/>
                <a:gd name="T79" fmla="*/ 23 h 504"/>
                <a:gd name="T80" fmla="*/ 136 w 214"/>
                <a:gd name="T81" fmla="*/ 9 h 504"/>
                <a:gd name="T82" fmla="*/ 104 w 214"/>
                <a:gd name="T83" fmla="*/ 1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4" h="504">
                  <a:moveTo>
                    <a:pt x="91" y="0"/>
                  </a:moveTo>
                  <a:lnTo>
                    <a:pt x="85" y="0"/>
                  </a:lnTo>
                  <a:lnTo>
                    <a:pt x="80" y="1"/>
                  </a:lnTo>
                  <a:lnTo>
                    <a:pt x="74" y="2"/>
                  </a:lnTo>
                  <a:lnTo>
                    <a:pt x="69" y="4"/>
                  </a:lnTo>
                  <a:lnTo>
                    <a:pt x="65" y="6"/>
                  </a:lnTo>
                  <a:lnTo>
                    <a:pt x="60" y="9"/>
                  </a:lnTo>
                  <a:lnTo>
                    <a:pt x="56" y="13"/>
                  </a:lnTo>
                  <a:lnTo>
                    <a:pt x="51" y="17"/>
                  </a:lnTo>
                  <a:lnTo>
                    <a:pt x="44" y="29"/>
                  </a:lnTo>
                  <a:lnTo>
                    <a:pt x="37" y="41"/>
                  </a:lnTo>
                  <a:lnTo>
                    <a:pt x="31" y="57"/>
                  </a:lnTo>
                  <a:lnTo>
                    <a:pt x="26" y="76"/>
                  </a:lnTo>
                  <a:lnTo>
                    <a:pt x="19" y="102"/>
                  </a:lnTo>
                  <a:lnTo>
                    <a:pt x="13" y="130"/>
                  </a:lnTo>
                  <a:lnTo>
                    <a:pt x="9" y="155"/>
                  </a:lnTo>
                  <a:lnTo>
                    <a:pt x="5" y="181"/>
                  </a:lnTo>
                  <a:lnTo>
                    <a:pt x="2" y="206"/>
                  </a:lnTo>
                  <a:lnTo>
                    <a:pt x="0" y="231"/>
                  </a:lnTo>
                  <a:lnTo>
                    <a:pt x="0" y="254"/>
                  </a:lnTo>
                  <a:lnTo>
                    <a:pt x="0" y="278"/>
                  </a:lnTo>
                  <a:lnTo>
                    <a:pt x="2" y="299"/>
                  </a:lnTo>
                  <a:lnTo>
                    <a:pt x="5" y="321"/>
                  </a:lnTo>
                  <a:lnTo>
                    <a:pt x="9" y="341"/>
                  </a:lnTo>
                  <a:lnTo>
                    <a:pt x="14" y="360"/>
                  </a:lnTo>
                  <a:lnTo>
                    <a:pt x="19" y="380"/>
                  </a:lnTo>
                  <a:lnTo>
                    <a:pt x="26" y="397"/>
                  </a:lnTo>
                  <a:lnTo>
                    <a:pt x="33" y="413"/>
                  </a:lnTo>
                  <a:lnTo>
                    <a:pt x="42" y="429"/>
                  </a:lnTo>
                  <a:lnTo>
                    <a:pt x="51" y="443"/>
                  </a:lnTo>
                  <a:lnTo>
                    <a:pt x="63" y="456"/>
                  </a:lnTo>
                  <a:lnTo>
                    <a:pt x="74" y="468"/>
                  </a:lnTo>
                  <a:lnTo>
                    <a:pt x="87" y="478"/>
                  </a:lnTo>
                  <a:lnTo>
                    <a:pt x="100" y="486"/>
                  </a:lnTo>
                  <a:lnTo>
                    <a:pt x="115" y="493"/>
                  </a:lnTo>
                  <a:lnTo>
                    <a:pt x="130" y="498"/>
                  </a:lnTo>
                  <a:lnTo>
                    <a:pt x="145" y="502"/>
                  </a:lnTo>
                  <a:lnTo>
                    <a:pt x="154" y="504"/>
                  </a:lnTo>
                  <a:lnTo>
                    <a:pt x="164" y="504"/>
                  </a:lnTo>
                  <a:lnTo>
                    <a:pt x="171" y="504"/>
                  </a:lnTo>
                  <a:lnTo>
                    <a:pt x="178" y="503"/>
                  </a:lnTo>
                  <a:lnTo>
                    <a:pt x="184" y="502"/>
                  </a:lnTo>
                  <a:lnTo>
                    <a:pt x="190" y="500"/>
                  </a:lnTo>
                  <a:lnTo>
                    <a:pt x="194" y="497"/>
                  </a:lnTo>
                  <a:lnTo>
                    <a:pt x="197" y="493"/>
                  </a:lnTo>
                  <a:lnTo>
                    <a:pt x="199" y="488"/>
                  </a:lnTo>
                  <a:lnTo>
                    <a:pt x="199" y="484"/>
                  </a:lnTo>
                  <a:lnTo>
                    <a:pt x="199" y="479"/>
                  </a:lnTo>
                  <a:lnTo>
                    <a:pt x="197" y="475"/>
                  </a:lnTo>
                  <a:lnTo>
                    <a:pt x="191" y="459"/>
                  </a:lnTo>
                  <a:lnTo>
                    <a:pt x="185" y="442"/>
                  </a:lnTo>
                  <a:lnTo>
                    <a:pt x="180" y="424"/>
                  </a:lnTo>
                  <a:lnTo>
                    <a:pt x="175" y="404"/>
                  </a:lnTo>
                  <a:lnTo>
                    <a:pt x="172" y="384"/>
                  </a:lnTo>
                  <a:lnTo>
                    <a:pt x="169" y="362"/>
                  </a:lnTo>
                  <a:lnTo>
                    <a:pt x="167" y="341"/>
                  </a:lnTo>
                  <a:lnTo>
                    <a:pt x="167" y="319"/>
                  </a:lnTo>
                  <a:lnTo>
                    <a:pt x="167" y="295"/>
                  </a:lnTo>
                  <a:lnTo>
                    <a:pt x="168" y="273"/>
                  </a:lnTo>
                  <a:lnTo>
                    <a:pt x="170" y="249"/>
                  </a:lnTo>
                  <a:lnTo>
                    <a:pt x="174" y="226"/>
                  </a:lnTo>
                  <a:lnTo>
                    <a:pt x="179" y="202"/>
                  </a:lnTo>
                  <a:lnTo>
                    <a:pt x="185" y="180"/>
                  </a:lnTo>
                  <a:lnTo>
                    <a:pt x="192" y="157"/>
                  </a:lnTo>
                  <a:lnTo>
                    <a:pt x="200" y="135"/>
                  </a:lnTo>
                  <a:lnTo>
                    <a:pt x="205" y="125"/>
                  </a:lnTo>
                  <a:lnTo>
                    <a:pt x="209" y="114"/>
                  </a:lnTo>
                  <a:lnTo>
                    <a:pt x="212" y="104"/>
                  </a:lnTo>
                  <a:lnTo>
                    <a:pt x="213" y="96"/>
                  </a:lnTo>
                  <a:lnTo>
                    <a:pt x="214" y="87"/>
                  </a:lnTo>
                  <a:lnTo>
                    <a:pt x="214" y="79"/>
                  </a:lnTo>
                  <a:lnTo>
                    <a:pt x="212" y="72"/>
                  </a:lnTo>
                  <a:lnTo>
                    <a:pt x="210" y="64"/>
                  </a:lnTo>
                  <a:lnTo>
                    <a:pt x="206" y="57"/>
                  </a:lnTo>
                  <a:lnTo>
                    <a:pt x="202" y="51"/>
                  </a:lnTo>
                  <a:lnTo>
                    <a:pt x="196" y="45"/>
                  </a:lnTo>
                  <a:lnTo>
                    <a:pt x="190" y="39"/>
                  </a:lnTo>
                  <a:lnTo>
                    <a:pt x="183" y="34"/>
                  </a:lnTo>
                  <a:lnTo>
                    <a:pt x="175" y="28"/>
                  </a:lnTo>
                  <a:lnTo>
                    <a:pt x="165" y="23"/>
                  </a:lnTo>
                  <a:lnTo>
                    <a:pt x="154" y="17"/>
                  </a:lnTo>
                  <a:lnTo>
                    <a:pt x="136" y="9"/>
                  </a:lnTo>
                  <a:lnTo>
                    <a:pt x="119" y="4"/>
                  </a:lnTo>
                  <a:lnTo>
                    <a:pt x="104" y="1"/>
                  </a:lnTo>
                  <a:lnTo>
                    <a:pt x="9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7" name="Freeform 43"/>
            <p:cNvSpPr>
              <a:spLocks/>
            </p:cNvSpPr>
            <p:nvPr userDrawn="1"/>
          </p:nvSpPr>
          <p:spPr bwMode="auto">
            <a:xfrm>
              <a:off x="6966" y="608"/>
              <a:ext cx="26" cy="41"/>
            </a:xfrm>
            <a:custGeom>
              <a:avLst/>
              <a:gdLst>
                <a:gd name="T0" fmla="*/ 91 w 315"/>
                <a:gd name="T1" fmla="*/ 120 h 486"/>
                <a:gd name="T2" fmla="*/ 110 w 315"/>
                <a:gd name="T3" fmla="*/ 124 h 486"/>
                <a:gd name="T4" fmla="*/ 128 w 315"/>
                <a:gd name="T5" fmla="*/ 132 h 486"/>
                <a:gd name="T6" fmla="*/ 144 w 315"/>
                <a:gd name="T7" fmla="*/ 143 h 486"/>
                <a:gd name="T8" fmla="*/ 160 w 315"/>
                <a:gd name="T9" fmla="*/ 161 h 486"/>
                <a:gd name="T10" fmla="*/ 172 w 315"/>
                <a:gd name="T11" fmla="*/ 183 h 486"/>
                <a:gd name="T12" fmla="*/ 180 w 315"/>
                <a:gd name="T13" fmla="*/ 206 h 486"/>
                <a:gd name="T14" fmla="*/ 183 w 315"/>
                <a:gd name="T15" fmla="*/ 228 h 486"/>
                <a:gd name="T16" fmla="*/ 181 w 315"/>
                <a:gd name="T17" fmla="*/ 251 h 486"/>
                <a:gd name="T18" fmla="*/ 174 w 315"/>
                <a:gd name="T19" fmla="*/ 279 h 486"/>
                <a:gd name="T20" fmla="*/ 161 w 315"/>
                <a:gd name="T21" fmla="*/ 304 h 486"/>
                <a:gd name="T22" fmla="*/ 144 w 315"/>
                <a:gd name="T23" fmla="*/ 327 h 486"/>
                <a:gd name="T24" fmla="*/ 123 w 315"/>
                <a:gd name="T25" fmla="*/ 347 h 486"/>
                <a:gd name="T26" fmla="*/ 100 w 315"/>
                <a:gd name="T27" fmla="*/ 363 h 486"/>
                <a:gd name="T28" fmla="*/ 74 w 315"/>
                <a:gd name="T29" fmla="*/ 374 h 486"/>
                <a:gd name="T30" fmla="*/ 47 w 315"/>
                <a:gd name="T31" fmla="*/ 380 h 486"/>
                <a:gd name="T32" fmla="*/ 0 w 315"/>
                <a:gd name="T33" fmla="*/ 434 h 486"/>
                <a:gd name="T34" fmla="*/ 74 w 315"/>
                <a:gd name="T35" fmla="*/ 486 h 486"/>
                <a:gd name="T36" fmla="*/ 97 w 315"/>
                <a:gd name="T37" fmla="*/ 484 h 486"/>
                <a:gd name="T38" fmla="*/ 129 w 315"/>
                <a:gd name="T39" fmla="*/ 476 h 486"/>
                <a:gd name="T40" fmla="*/ 172 w 315"/>
                <a:gd name="T41" fmla="*/ 460 h 486"/>
                <a:gd name="T42" fmla="*/ 213 w 315"/>
                <a:gd name="T43" fmla="*/ 435 h 486"/>
                <a:gd name="T44" fmla="*/ 250 w 315"/>
                <a:gd name="T45" fmla="*/ 406 h 486"/>
                <a:gd name="T46" fmla="*/ 273 w 315"/>
                <a:gd name="T47" fmla="*/ 379 h 486"/>
                <a:gd name="T48" fmla="*/ 286 w 315"/>
                <a:gd name="T49" fmla="*/ 361 h 486"/>
                <a:gd name="T50" fmla="*/ 297 w 315"/>
                <a:gd name="T51" fmla="*/ 340 h 486"/>
                <a:gd name="T52" fmla="*/ 306 w 315"/>
                <a:gd name="T53" fmla="*/ 320 h 486"/>
                <a:gd name="T54" fmla="*/ 312 w 315"/>
                <a:gd name="T55" fmla="*/ 297 h 486"/>
                <a:gd name="T56" fmla="*/ 315 w 315"/>
                <a:gd name="T57" fmla="*/ 275 h 486"/>
                <a:gd name="T58" fmla="*/ 315 w 315"/>
                <a:gd name="T59" fmla="*/ 249 h 486"/>
                <a:gd name="T60" fmla="*/ 312 w 315"/>
                <a:gd name="T61" fmla="*/ 221 h 486"/>
                <a:gd name="T62" fmla="*/ 306 w 315"/>
                <a:gd name="T63" fmla="*/ 194 h 486"/>
                <a:gd name="T64" fmla="*/ 298 w 315"/>
                <a:gd name="T65" fmla="*/ 169 h 486"/>
                <a:gd name="T66" fmla="*/ 287 w 315"/>
                <a:gd name="T67" fmla="*/ 144 h 486"/>
                <a:gd name="T68" fmla="*/ 274 w 315"/>
                <a:gd name="T69" fmla="*/ 122 h 486"/>
                <a:gd name="T70" fmla="*/ 259 w 315"/>
                <a:gd name="T71" fmla="*/ 101 h 486"/>
                <a:gd name="T72" fmla="*/ 243 w 315"/>
                <a:gd name="T73" fmla="*/ 82 h 486"/>
                <a:gd name="T74" fmla="*/ 224 w 315"/>
                <a:gd name="T75" fmla="*/ 65 h 486"/>
                <a:gd name="T76" fmla="*/ 205 w 315"/>
                <a:gd name="T77" fmla="*/ 49 h 486"/>
                <a:gd name="T78" fmla="*/ 184 w 315"/>
                <a:gd name="T79" fmla="*/ 36 h 486"/>
                <a:gd name="T80" fmla="*/ 163 w 315"/>
                <a:gd name="T81" fmla="*/ 25 h 486"/>
                <a:gd name="T82" fmla="*/ 141 w 315"/>
                <a:gd name="T83" fmla="*/ 15 h 486"/>
                <a:gd name="T84" fmla="*/ 118 w 315"/>
                <a:gd name="T85" fmla="*/ 7 h 486"/>
                <a:gd name="T86" fmla="*/ 95 w 315"/>
                <a:gd name="T87" fmla="*/ 3 h 486"/>
                <a:gd name="T88" fmla="*/ 72 w 315"/>
                <a:gd name="T89" fmla="*/ 0 h 486"/>
                <a:gd name="T90" fmla="*/ 21 w 315"/>
                <a:gd name="T91" fmla="*/ 68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5" h="486">
                  <a:moveTo>
                    <a:pt x="80" y="120"/>
                  </a:moveTo>
                  <a:lnTo>
                    <a:pt x="91" y="120"/>
                  </a:lnTo>
                  <a:lnTo>
                    <a:pt x="101" y="122"/>
                  </a:lnTo>
                  <a:lnTo>
                    <a:pt x="110" y="124"/>
                  </a:lnTo>
                  <a:lnTo>
                    <a:pt x="119" y="128"/>
                  </a:lnTo>
                  <a:lnTo>
                    <a:pt x="128" y="132"/>
                  </a:lnTo>
                  <a:lnTo>
                    <a:pt x="136" y="137"/>
                  </a:lnTo>
                  <a:lnTo>
                    <a:pt x="144" y="143"/>
                  </a:lnTo>
                  <a:lnTo>
                    <a:pt x="151" y="150"/>
                  </a:lnTo>
                  <a:lnTo>
                    <a:pt x="160" y="161"/>
                  </a:lnTo>
                  <a:lnTo>
                    <a:pt x="167" y="172"/>
                  </a:lnTo>
                  <a:lnTo>
                    <a:pt x="172" y="183"/>
                  </a:lnTo>
                  <a:lnTo>
                    <a:pt x="177" y="194"/>
                  </a:lnTo>
                  <a:lnTo>
                    <a:pt x="180" y="206"/>
                  </a:lnTo>
                  <a:lnTo>
                    <a:pt x="182" y="218"/>
                  </a:lnTo>
                  <a:lnTo>
                    <a:pt x="183" y="228"/>
                  </a:lnTo>
                  <a:lnTo>
                    <a:pt x="183" y="237"/>
                  </a:lnTo>
                  <a:lnTo>
                    <a:pt x="181" y="251"/>
                  </a:lnTo>
                  <a:lnTo>
                    <a:pt x="178" y="266"/>
                  </a:lnTo>
                  <a:lnTo>
                    <a:pt x="174" y="279"/>
                  </a:lnTo>
                  <a:lnTo>
                    <a:pt x="168" y="292"/>
                  </a:lnTo>
                  <a:lnTo>
                    <a:pt x="161" y="304"/>
                  </a:lnTo>
                  <a:lnTo>
                    <a:pt x="153" y="317"/>
                  </a:lnTo>
                  <a:lnTo>
                    <a:pt x="144" y="327"/>
                  </a:lnTo>
                  <a:lnTo>
                    <a:pt x="134" y="338"/>
                  </a:lnTo>
                  <a:lnTo>
                    <a:pt x="123" y="347"/>
                  </a:lnTo>
                  <a:lnTo>
                    <a:pt x="112" y="355"/>
                  </a:lnTo>
                  <a:lnTo>
                    <a:pt x="100" y="363"/>
                  </a:lnTo>
                  <a:lnTo>
                    <a:pt x="87" y="369"/>
                  </a:lnTo>
                  <a:lnTo>
                    <a:pt x="74" y="374"/>
                  </a:lnTo>
                  <a:lnTo>
                    <a:pt x="61" y="378"/>
                  </a:lnTo>
                  <a:lnTo>
                    <a:pt x="47" y="380"/>
                  </a:lnTo>
                  <a:lnTo>
                    <a:pt x="33" y="381"/>
                  </a:lnTo>
                  <a:lnTo>
                    <a:pt x="0" y="434"/>
                  </a:lnTo>
                  <a:lnTo>
                    <a:pt x="64" y="486"/>
                  </a:lnTo>
                  <a:lnTo>
                    <a:pt x="74" y="486"/>
                  </a:lnTo>
                  <a:lnTo>
                    <a:pt x="85" y="485"/>
                  </a:lnTo>
                  <a:lnTo>
                    <a:pt x="97" y="484"/>
                  </a:lnTo>
                  <a:lnTo>
                    <a:pt x="107" y="482"/>
                  </a:lnTo>
                  <a:lnTo>
                    <a:pt x="129" y="476"/>
                  </a:lnTo>
                  <a:lnTo>
                    <a:pt x="151" y="469"/>
                  </a:lnTo>
                  <a:lnTo>
                    <a:pt x="172" y="460"/>
                  </a:lnTo>
                  <a:lnTo>
                    <a:pt x="194" y="448"/>
                  </a:lnTo>
                  <a:lnTo>
                    <a:pt x="213" y="435"/>
                  </a:lnTo>
                  <a:lnTo>
                    <a:pt x="232" y="421"/>
                  </a:lnTo>
                  <a:lnTo>
                    <a:pt x="250" y="406"/>
                  </a:lnTo>
                  <a:lnTo>
                    <a:pt x="266" y="388"/>
                  </a:lnTo>
                  <a:lnTo>
                    <a:pt x="273" y="379"/>
                  </a:lnTo>
                  <a:lnTo>
                    <a:pt x="279" y="370"/>
                  </a:lnTo>
                  <a:lnTo>
                    <a:pt x="286" y="361"/>
                  </a:lnTo>
                  <a:lnTo>
                    <a:pt x="291" y="350"/>
                  </a:lnTo>
                  <a:lnTo>
                    <a:pt x="297" y="340"/>
                  </a:lnTo>
                  <a:lnTo>
                    <a:pt x="302" y="330"/>
                  </a:lnTo>
                  <a:lnTo>
                    <a:pt x="306" y="320"/>
                  </a:lnTo>
                  <a:lnTo>
                    <a:pt x="309" y="309"/>
                  </a:lnTo>
                  <a:lnTo>
                    <a:pt x="312" y="297"/>
                  </a:lnTo>
                  <a:lnTo>
                    <a:pt x="314" y="287"/>
                  </a:lnTo>
                  <a:lnTo>
                    <a:pt x="315" y="275"/>
                  </a:lnTo>
                  <a:lnTo>
                    <a:pt x="315" y="264"/>
                  </a:lnTo>
                  <a:lnTo>
                    <a:pt x="315" y="249"/>
                  </a:lnTo>
                  <a:lnTo>
                    <a:pt x="314" y="235"/>
                  </a:lnTo>
                  <a:lnTo>
                    <a:pt x="312" y="221"/>
                  </a:lnTo>
                  <a:lnTo>
                    <a:pt x="309" y="207"/>
                  </a:lnTo>
                  <a:lnTo>
                    <a:pt x="306" y="194"/>
                  </a:lnTo>
                  <a:lnTo>
                    <a:pt x="302" y="181"/>
                  </a:lnTo>
                  <a:lnTo>
                    <a:pt x="298" y="169"/>
                  </a:lnTo>
                  <a:lnTo>
                    <a:pt x="293" y="156"/>
                  </a:lnTo>
                  <a:lnTo>
                    <a:pt x="287" y="144"/>
                  </a:lnTo>
                  <a:lnTo>
                    <a:pt x="280" y="133"/>
                  </a:lnTo>
                  <a:lnTo>
                    <a:pt x="274" y="122"/>
                  </a:lnTo>
                  <a:lnTo>
                    <a:pt x="267" y="112"/>
                  </a:lnTo>
                  <a:lnTo>
                    <a:pt x="259" y="101"/>
                  </a:lnTo>
                  <a:lnTo>
                    <a:pt x="251" y="91"/>
                  </a:lnTo>
                  <a:lnTo>
                    <a:pt x="243" y="82"/>
                  </a:lnTo>
                  <a:lnTo>
                    <a:pt x="233" y="73"/>
                  </a:lnTo>
                  <a:lnTo>
                    <a:pt x="224" y="65"/>
                  </a:lnTo>
                  <a:lnTo>
                    <a:pt x="215" y="56"/>
                  </a:lnTo>
                  <a:lnTo>
                    <a:pt x="205" y="49"/>
                  </a:lnTo>
                  <a:lnTo>
                    <a:pt x="195" y="42"/>
                  </a:lnTo>
                  <a:lnTo>
                    <a:pt x="184" y="36"/>
                  </a:lnTo>
                  <a:lnTo>
                    <a:pt x="174" y="30"/>
                  </a:lnTo>
                  <a:lnTo>
                    <a:pt x="163" y="25"/>
                  </a:lnTo>
                  <a:lnTo>
                    <a:pt x="152" y="20"/>
                  </a:lnTo>
                  <a:lnTo>
                    <a:pt x="141" y="15"/>
                  </a:lnTo>
                  <a:lnTo>
                    <a:pt x="129" y="12"/>
                  </a:lnTo>
                  <a:lnTo>
                    <a:pt x="118" y="7"/>
                  </a:lnTo>
                  <a:lnTo>
                    <a:pt x="107" y="5"/>
                  </a:lnTo>
                  <a:lnTo>
                    <a:pt x="95" y="3"/>
                  </a:lnTo>
                  <a:lnTo>
                    <a:pt x="83" y="1"/>
                  </a:lnTo>
                  <a:lnTo>
                    <a:pt x="72" y="0"/>
                  </a:lnTo>
                  <a:lnTo>
                    <a:pt x="60" y="0"/>
                  </a:lnTo>
                  <a:lnTo>
                    <a:pt x="21" y="68"/>
                  </a:lnTo>
                  <a:lnTo>
                    <a:pt x="80" y="1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8" name="Freeform 44"/>
            <p:cNvSpPr>
              <a:spLocks/>
            </p:cNvSpPr>
            <p:nvPr userDrawn="1"/>
          </p:nvSpPr>
          <p:spPr bwMode="auto">
            <a:xfrm>
              <a:off x="6884" y="562"/>
              <a:ext cx="92" cy="118"/>
            </a:xfrm>
            <a:custGeom>
              <a:avLst/>
              <a:gdLst>
                <a:gd name="T0" fmla="*/ 1007 w 1095"/>
                <a:gd name="T1" fmla="*/ 693 h 1421"/>
                <a:gd name="T2" fmla="*/ 952 w 1095"/>
                <a:gd name="T3" fmla="*/ 735 h 1421"/>
                <a:gd name="T4" fmla="*/ 915 w 1095"/>
                <a:gd name="T5" fmla="*/ 791 h 1421"/>
                <a:gd name="T6" fmla="*/ 906 w 1095"/>
                <a:gd name="T7" fmla="*/ 852 h 1421"/>
                <a:gd name="T8" fmla="*/ 929 w 1095"/>
                <a:gd name="T9" fmla="*/ 906 h 1421"/>
                <a:gd name="T10" fmla="*/ 974 w 1095"/>
                <a:gd name="T11" fmla="*/ 937 h 1421"/>
                <a:gd name="T12" fmla="*/ 1040 w 1095"/>
                <a:gd name="T13" fmla="*/ 1047 h 1421"/>
                <a:gd name="T14" fmla="*/ 955 w 1095"/>
                <a:gd name="T15" fmla="*/ 1038 h 1421"/>
                <a:gd name="T16" fmla="*/ 881 w 1095"/>
                <a:gd name="T17" fmla="*/ 1012 h 1421"/>
                <a:gd name="T18" fmla="*/ 821 w 1095"/>
                <a:gd name="T19" fmla="*/ 976 h 1421"/>
                <a:gd name="T20" fmla="*/ 774 w 1095"/>
                <a:gd name="T21" fmla="*/ 931 h 1421"/>
                <a:gd name="T22" fmla="*/ 741 w 1095"/>
                <a:gd name="T23" fmla="*/ 883 h 1421"/>
                <a:gd name="T24" fmla="*/ 726 w 1095"/>
                <a:gd name="T25" fmla="*/ 835 h 1421"/>
                <a:gd name="T26" fmla="*/ 728 w 1095"/>
                <a:gd name="T27" fmla="*/ 774 h 1421"/>
                <a:gd name="T28" fmla="*/ 749 w 1095"/>
                <a:gd name="T29" fmla="*/ 723 h 1421"/>
                <a:gd name="T30" fmla="*/ 650 w 1095"/>
                <a:gd name="T31" fmla="*/ 723 h 1421"/>
                <a:gd name="T32" fmla="*/ 491 w 1095"/>
                <a:gd name="T33" fmla="*/ 745 h 1421"/>
                <a:gd name="T34" fmla="*/ 462 w 1095"/>
                <a:gd name="T35" fmla="*/ 886 h 1421"/>
                <a:gd name="T36" fmla="*/ 435 w 1095"/>
                <a:gd name="T37" fmla="*/ 1103 h 1421"/>
                <a:gd name="T38" fmla="*/ 427 w 1095"/>
                <a:gd name="T39" fmla="*/ 1291 h 1421"/>
                <a:gd name="T40" fmla="*/ 431 w 1095"/>
                <a:gd name="T41" fmla="*/ 1398 h 1421"/>
                <a:gd name="T42" fmla="*/ 416 w 1095"/>
                <a:gd name="T43" fmla="*/ 1418 h 1421"/>
                <a:gd name="T44" fmla="*/ 378 w 1095"/>
                <a:gd name="T45" fmla="*/ 1418 h 1421"/>
                <a:gd name="T46" fmla="*/ 337 w 1095"/>
                <a:gd name="T47" fmla="*/ 1390 h 1421"/>
                <a:gd name="T48" fmla="*/ 310 w 1095"/>
                <a:gd name="T49" fmla="*/ 1337 h 1421"/>
                <a:gd name="T50" fmla="*/ 293 w 1095"/>
                <a:gd name="T51" fmla="*/ 1256 h 1421"/>
                <a:gd name="T52" fmla="*/ 288 w 1095"/>
                <a:gd name="T53" fmla="*/ 1109 h 1421"/>
                <a:gd name="T54" fmla="*/ 313 w 1095"/>
                <a:gd name="T55" fmla="*/ 843 h 1421"/>
                <a:gd name="T56" fmla="*/ 226 w 1095"/>
                <a:gd name="T57" fmla="*/ 803 h 1421"/>
                <a:gd name="T58" fmla="*/ 161 w 1095"/>
                <a:gd name="T59" fmla="*/ 831 h 1421"/>
                <a:gd name="T60" fmla="*/ 125 w 1095"/>
                <a:gd name="T61" fmla="*/ 840 h 1421"/>
                <a:gd name="T62" fmla="*/ 86 w 1095"/>
                <a:gd name="T63" fmla="*/ 834 h 1421"/>
                <a:gd name="T64" fmla="*/ 24 w 1095"/>
                <a:gd name="T65" fmla="*/ 796 h 1421"/>
                <a:gd name="T66" fmla="*/ 0 w 1095"/>
                <a:gd name="T67" fmla="*/ 762 h 1421"/>
                <a:gd name="T68" fmla="*/ 8 w 1095"/>
                <a:gd name="T69" fmla="*/ 740 h 1421"/>
                <a:gd name="T70" fmla="*/ 62 w 1095"/>
                <a:gd name="T71" fmla="*/ 713 h 1421"/>
                <a:gd name="T72" fmla="*/ 251 w 1095"/>
                <a:gd name="T73" fmla="*/ 663 h 1421"/>
                <a:gd name="T74" fmla="*/ 364 w 1095"/>
                <a:gd name="T75" fmla="*/ 577 h 1421"/>
                <a:gd name="T76" fmla="*/ 431 w 1095"/>
                <a:gd name="T77" fmla="*/ 350 h 1421"/>
                <a:gd name="T78" fmla="*/ 514 w 1095"/>
                <a:gd name="T79" fmla="*/ 162 h 1421"/>
                <a:gd name="T80" fmla="*/ 599 w 1095"/>
                <a:gd name="T81" fmla="*/ 34 h 1421"/>
                <a:gd name="T82" fmla="*/ 669 w 1095"/>
                <a:gd name="T83" fmla="*/ 1 h 1421"/>
                <a:gd name="T84" fmla="*/ 732 w 1095"/>
                <a:gd name="T85" fmla="*/ 7 h 1421"/>
                <a:gd name="T86" fmla="*/ 799 w 1095"/>
                <a:gd name="T87" fmla="*/ 37 h 1421"/>
                <a:gd name="T88" fmla="*/ 852 w 1095"/>
                <a:gd name="T89" fmla="*/ 97 h 1421"/>
                <a:gd name="T90" fmla="*/ 866 w 1095"/>
                <a:gd name="T91" fmla="*/ 159 h 1421"/>
                <a:gd name="T92" fmla="*/ 852 w 1095"/>
                <a:gd name="T93" fmla="*/ 204 h 1421"/>
                <a:gd name="T94" fmla="*/ 824 w 1095"/>
                <a:gd name="T95" fmla="*/ 224 h 1421"/>
                <a:gd name="T96" fmla="*/ 807 w 1095"/>
                <a:gd name="T97" fmla="*/ 220 h 1421"/>
                <a:gd name="T98" fmla="*/ 778 w 1095"/>
                <a:gd name="T99" fmla="*/ 172 h 1421"/>
                <a:gd name="T100" fmla="*/ 731 w 1095"/>
                <a:gd name="T101" fmla="*/ 149 h 1421"/>
                <a:gd name="T102" fmla="*/ 697 w 1095"/>
                <a:gd name="T103" fmla="*/ 160 h 1421"/>
                <a:gd name="T104" fmla="*/ 660 w 1095"/>
                <a:gd name="T105" fmla="*/ 210 h 1421"/>
                <a:gd name="T106" fmla="*/ 601 w 1095"/>
                <a:gd name="T107" fmla="*/ 339 h 1421"/>
                <a:gd name="T108" fmla="*/ 514 w 1095"/>
                <a:gd name="T109" fmla="*/ 627 h 1421"/>
                <a:gd name="T110" fmla="*/ 618 w 1095"/>
                <a:gd name="T111" fmla="*/ 629 h 1421"/>
                <a:gd name="T112" fmla="*/ 798 w 1095"/>
                <a:gd name="T113" fmla="*/ 626 h 1421"/>
                <a:gd name="T114" fmla="*/ 892 w 1095"/>
                <a:gd name="T115" fmla="*/ 627 h 1421"/>
                <a:gd name="T116" fmla="*/ 961 w 1095"/>
                <a:gd name="T117" fmla="*/ 578 h 1421"/>
                <a:gd name="T118" fmla="*/ 1027 w 1095"/>
                <a:gd name="T119" fmla="*/ 561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421">
                  <a:moveTo>
                    <a:pt x="1056" y="681"/>
                  </a:moveTo>
                  <a:lnTo>
                    <a:pt x="1044" y="682"/>
                  </a:lnTo>
                  <a:lnTo>
                    <a:pt x="1032" y="684"/>
                  </a:lnTo>
                  <a:lnTo>
                    <a:pt x="1020" y="688"/>
                  </a:lnTo>
                  <a:lnTo>
                    <a:pt x="1007" y="693"/>
                  </a:lnTo>
                  <a:lnTo>
                    <a:pt x="995" y="699"/>
                  </a:lnTo>
                  <a:lnTo>
                    <a:pt x="984" y="707"/>
                  </a:lnTo>
                  <a:lnTo>
                    <a:pt x="973" y="715"/>
                  </a:lnTo>
                  <a:lnTo>
                    <a:pt x="961" y="725"/>
                  </a:lnTo>
                  <a:lnTo>
                    <a:pt x="952" y="735"/>
                  </a:lnTo>
                  <a:lnTo>
                    <a:pt x="943" y="745"/>
                  </a:lnTo>
                  <a:lnTo>
                    <a:pt x="934" y="756"/>
                  </a:lnTo>
                  <a:lnTo>
                    <a:pt x="927" y="767"/>
                  </a:lnTo>
                  <a:lnTo>
                    <a:pt x="921" y="779"/>
                  </a:lnTo>
                  <a:lnTo>
                    <a:pt x="915" y="791"/>
                  </a:lnTo>
                  <a:lnTo>
                    <a:pt x="910" y="802"/>
                  </a:lnTo>
                  <a:lnTo>
                    <a:pt x="908" y="813"/>
                  </a:lnTo>
                  <a:lnTo>
                    <a:pt x="906" y="827"/>
                  </a:lnTo>
                  <a:lnTo>
                    <a:pt x="905" y="839"/>
                  </a:lnTo>
                  <a:lnTo>
                    <a:pt x="906" y="852"/>
                  </a:lnTo>
                  <a:lnTo>
                    <a:pt x="908" y="863"/>
                  </a:lnTo>
                  <a:lnTo>
                    <a:pt x="912" y="876"/>
                  </a:lnTo>
                  <a:lnTo>
                    <a:pt x="917" y="886"/>
                  </a:lnTo>
                  <a:lnTo>
                    <a:pt x="922" y="897"/>
                  </a:lnTo>
                  <a:lnTo>
                    <a:pt x="929" y="906"/>
                  </a:lnTo>
                  <a:lnTo>
                    <a:pt x="936" y="914"/>
                  </a:lnTo>
                  <a:lnTo>
                    <a:pt x="945" y="922"/>
                  </a:lnTo>
                  <a:lnTo>
                    <a:pt x="953" y="928"/>
                  </a:lnTo>
                  <a:lnTo>
                    <a:pt x="964" y="933"/>
                  </a:lnTo>
                  <a:lnTo>
                    <a:pt x="974" y="937"/>
                  </a:lnTo>
                  <a:lnTo>
                    <a:pt x="985" y="940"/>
                  </a:lnTo>
                  <a:lnTo>
                    <a:pt x="997" y="941"/>
                  </a:lnTo>
                  <a:lnTo>
                    <a:pt x="1009" y="942"/>
                  </a:lnTo>
                  <a:lnTo>
                    <a:pt x="1073" y="984"/>
                  </a:lnTo>
                  <a:lnTo>
                    <a:pt x="1040" y="1047"/>
                  </a:lnTo>
                  <a:lnTo>
                    <a:pt x="1022" y="1047"/>
                  </a:lnTo>
                  <a:lnTo>
                    <a:pt x="1004" y="1046"/>
                  </a:lnTo>
                  <a:lnTo>
                    <a:pt x="988" y="1044"/>
                  </a:lnTo>
                  <a:lnTo>
                    <a:pt x="971" y="1041"/>
                  </a:lnTo>
                  <a:lnTo>
                    <a:pt x="955" y="1038"/>
                  </a:lnTo>
                  <a:lnTo>
                    <a:pt x="939" y="1034"/>
                  </a:lnTo>
                  <a:lnTo>
                    <a:pt x="924" y="1030"/>
                  </a:lnTo>
                  <a:lnTo>
                    <a:pt x="909" y="1025"/>
                  </a:lnTo>
                  <a:lnTo>
                    <a:pt x="895" y="1019"/>
                  </a:lnTo>
                  <a:lnTo>
                    <a:pt x="881" y="1012"/>
                  </a:lnTo>
                  <a:lnTo>
                    <a:pt x="869" y="1006"/>
                  </a:lnTo>
                  <a:lnTo>
                    <a:pt x="855" y="999"/>
                  </a:lnTo>
                  <a:lnTo>
                    <a:pt x="843" y="992"/>
                  </a:lnTo>
                  <a:lnTo>
                    <a:pt x="832" y="984"/>
                  </a:lnTo>
                  <a:lnTo>
                    <a:pt x="821" y="976"/>
                  </a:lnTo>
                  <a:lnTo>
                    <a:pt x="810" y="968"/>
                  </a:lnTo>
                  <a:lnTo>
                    <a:pt x="800" y="958"/>
                  </a:lnTo>
                  <a:lnTo>
                    <a:pt x="790" y="949"/>
                  </a:lnTo>
                  <a:lnTo>
                    <a:pt x="782" y="940"/>
                  </a:lnTo>
                  <a:lnTo>
                    <a:pt x="774" y="931"/>
                  </a:lnTo>
                  <a:lnTo>
                    <a:pt x="766" y="922"/>
                  </a:lnTo>
                  <a:lnTo>
                    <a:pt x="759" y="911"/>
                  </a:lnTo>
                  <a:lnTo>
                    <a:pt x="752" y="902"/>
                  </a:lnTo>
                  <a:lnTo>
                    <a:pt x="746" y="892"/>
                  </a:lnTo>
                  <a:lnTo>
                    <a:pt x="741" y="883"/>
                  </a:lnTo>
                  <a:lnTo>
                    <a:pt x="737" y="873"/>
                  </a:lnTo>
                  <a:lnTo>
                    <a:pt x="733" y="863"/>
                  </a:lnTo>
                  <a:lnTo>
                    <a:pt x="730" y="853"/>
                  </a:lnTo>
                  <a:lnTo>
                    <a:pt x="728" y="844"/>
                  </a:lnTo>
                  <a:lnTo>
                    <a:pt x="726" y="835"/>
                  </a:lnTo>
                  <a:lnTo>
                    <a:pt x="725" y="826"/>
                  </a:lnTo>
                  <a:lnTo>
                    <a:pt x="725" y="816"/>
                  </a:lnTo>
                  <a:lnTo>
                    <a:pt x="725" y="801"/>
                  </a:lnTo>
                  <a:lnTo>
                    <a:pt x="726" y="787"/>
                  </a:lnTo>
                  <a:lnTo>
                    <a:pt x="728" y="774"/>
                  </a:lnTo>
                  <a:lnTo>
                    <a:pt x="731" y="761"/>
                  </a:lnTo>
                  <a:lnTo>
                    <a:pt x="734" y="750"/>
                  </a:lnTo>
                  <a:lnTo>
                    <a:pt x="739" y="740"/>
                  </a:lnTo>
                  <a:lnTo>
                    <a:pt x="744" y="731"/>
                  </a:lnTo>
                  <a:lnTo>
                    <a:pt x="749" y="723"/>
                  </a:lnTo>
                  <a:lnTo>
                    <a:pt x="759" y="712"/>
                  </a:lnTo>
                  <a:lnTo>
                    <a:pt x="745" y="713"/>
                  </a:lnTo>
                  <a:lnTo>
                    <a:pt x="714" y="716"/>
                  </a:lnTo>
                  <a:lnTo>
                    <a:pt x="682" y="720"/>
                  </a:lnTo>
                  <a:lnTo>
                    <a:pt x="650" y="723"/>
                  </a:lnTo>
                  <a:lnTo>
                    <a:pt x="619" y="727"/>
                  </a:lnTo>
                  <a:lnTo>
                    <a:pt x="586" y="731"/>
                  </a:lnTo>
                  <a:lnTo>
                    <a:pt x="555" y="735"/>
                  </a:lnTo>
                  <a:lnTo>
                    <a:pt x="523" y="740"/>
                  </a:lnTo>
                  <a:lnTo>
                    <a:pt x="491" y="745"/>
                  </a:lnTo>
                  <a:lnTo>
                    <a:pt x="487" y="745"/>
                  </a:lnTo>
                  <a:lnTo>
                    <a:pt x="487" y="749"/>
                  </a:lnTo>
                  <a:lnTo>
                    <a:pt x="478" y="795"/>
                  </a:lnTo>
                  <a:lnTo>
                    <a:pt x="470" y="841"/>
                  </a:lnTo>
                  <a:lnTo>
                    <a:pt x="462" y="886"/>
                  </a:lnTo>
                  <a:lnTo>
                    <a:pt x="455" y="931"/>
                  </a:lnTo>
                  <a:lnTo>
                    <a:pt x="448" y="976"/>
                  </a:lnTo>
                  <a:lnTo>
                    <a:pt x="443" y="1019"/>
                  </a:lnTo>
                  <a:lnTo>
                    <a:pt x="439" y="1061"/>
                  </a:lnTo>
                  <a:lnTo>
                    <a:pt x="435" y="1103"/>
                  </a:lnTo>
                  <a:lnTo>
                    <a:pt x="432" y="1143"/>
                  </a:lnTo>
                  <a:lnTo>
                    <a:pt x="429" y="1183"/>
                  </a:lnTo>
                  <a:lnTo>
                    <a:pt x="428" y="1221"/>
                  </a:lnTo>
                  <a:lnTo>
                    <a:pt x="427" y="1256"/>
                  </a:lnTo>
                  <a:lnTo>
                    <a:pt x="427" y="1291"/>
                  </a:lnTo>
                  <a:lnTo>
                    <a:pt x="428" y="1323"/>
                  </a:lnTo>
                  <a:lnTo>
                    <a:pt x="429" y="1353"/>
                  </a:lnTo>
                  <a:lnTo>
                    <a:pt x="432" y="1382"/>
                  </a:lnTo>
                  <a:lnTo>
                    <a:pt x="432" y="1391"/>
                  </a:lnTo>
                  <a:lnTo>
                    <a:pt x="431" y="1398"/>
                  </a:lnTo>
                  <a:lnTo>
                    <a:pt x="429" y="1405"/>
                  </a:lnTo>
                  <a:lnTo>
                    <a:pt x="426" y="1411"/>
                  </a:lnTo>
                  <a:lnTo>
                    <a:pt x="423" y="1414"/>
                  </a:lnTo>
                  <a:lnTo>
                    <a:pt x="420" y="1416"/>
                  </a:lnTo>
                  <a:lnTo>
                    <a:pt x="416" y="1418"/>
                  </a:lnTo>
                  <a:lnTo>
                    <a:pt x="413" y="1419"/>
                  </a:lnTo>
                  <a:lnTo>
                    <a:pt x="406" y="1420"/>
                  </a:lnTo>
                  <a:lnTo>
                    <a:pt x="398" y="1421"/>
                  </a:lnTo>
                  <a:lnTo>
                    <a:pt x="388" y="1420"/>
                  </a:lnTo>
                  <a:lnTo>
                    <a:pt x="378" y="1418"/>
                  </a:lnTo>
                  <a:lnTo>
                    <a:pt x="368" y="1414"/>
                  </a:lnTo>
                  <a:lnTo>
                    <a:pt x="359" y="1409"/>
                  </a:lnTo>
                  <a:lnTo>
                    <a:pt x="352" y="1403"/>
                  </a:lnTo>
                  <a:lnTo>
                    <a:pt x="344" y="1397"/>
                  </a:lnTo>
                  <a:lnTo>
                    <a:pt x="337" y="1390"/>
                  </a:lnTo>
                  <a:lnTo>
                    <a:pt x="331" y="1381"/>
                  </a:lnTo>
                  <a:lnTo>
                    <a:pt x="325" y="1372"/>
                  </a:lnTo>
                  <a:lnTo>
                    <a:pt x="319" y="1362"/>
                  </a:lnTo>
                  <a:lnTo>
                    <a:pt x="314" y="1349"/>
                  </a:lnTo>
                  <a:lnTo>
                    <a:pt x="310" y="1337"/>
                  </a:lnTo>
                  <a:lnTo>
                    <a:pt x="306" y="1323"/>
                  </a:lnTo>
                  <a:lnTo>
                    <a:pt x="302" y="1307"/>
                  </a:lnTo>
                  <a:lnTo>
                    <a:pt x="298" y="1292"/>
                  </a:lnTo>
                  <a:lnTo>
                    <a:pt x="295" y="1275"/>
                  </a:lnTo>
                  <a:lnTo>
                    <a:pt x="293" y="1256"/>
                  </a:lnTo>
                  <a:lnTo>
                    <a:pt x="291" y="1237"/>
                  </a:lnTo>
                  <a:lnTo>
                    <a:pt x="289" y="1217"/>
                  </a:lnTo>
                  <a:lnTo>
                    <a:pt x="288" y="1195"/>
                  </a:lnTo>
                  <a:lnTo>
                    <a:pt x="287" y="1154"/>
                  </a:lnTo>
                  <a:lnTo>
                    <a:pt x="288" y="1109"/>
                  </a:lnTo>
                  <a:lnTo>
                    <a:pt x="290" y="1060"/>
                  </a:lnTo>
                  <a:lnTo>
                    <a:pt x="294" y="1009"/>
                  </a:lnTo>
                  <a:lnTo>
                    <a:pt x="298" y="955"/>
                  </a:lnTo>
                  <a:lnTo>
                    <a:pt x="306" y="900"/>
                  </a:lnTo>
                  <a:lnTo>
                    <a:pt x="313" y="843"/>
                  </a:lnTo>
                  <a:lnTo>
                    <a:pt x="322" y="786"/>
                  </a:lnTo>
                  <a:lnTo>
                    <a:pt x="323" y="777"/>
                  </a:lnTo>
                  <a:lnTo>
                    <a:pt x="315" y="779"/>
                  </a:lnTo>
                  <a:lnTo>
                    <a:pt x="267" y="791"/>
                  </a:lnTo>
                  <a:lnTo>
                    <a:pt x="226" y="803"/>
                  </a:lnTo>
                  <a:lnTo>
                    <a:pt x="209" y="809"/>
                  </a:lnTo>
                  <a:lnTo>
                    <a:pt x="193" y="815"/>
                  </a:lnTo>
                  <a:lnTo>
                    <a:pt x="180" y="822"/>
                  </a:lnTo>
                  <a:lnTo>
                    <a:pt x="168" y="827"/>
                  </a:lnTo>
                  <a:lnTo>
                    <a:pt x="161" y="831"/>
                  </a:lnTo>
                  <a:lnTo>
                    <a:pt x="154" y="834"/>
                  </a:lnTo>
                  <a:lnTo>
                    <a:pt x="147" y="836"/>
                  </a:lnTo>
                  <a:lnTo>
                    <a:pt x="139" y="838"/>
                  </a:lnTo>
                  <a:lnTo>
                    <a:pt x="132" y="839"/>
                  </a:lnTo>
                  <a:lnTo>
                    <a:pt x="125" y="840"/>
                  </a:lnTo>
                  <a:lnTo>
                    <a:pt x="117" y="840"/>
                  </a:lnTo>
                  <a:lnTo>
                    <a:pt x="110" y="839"/>
                  </a:lnTo>
                  <a:lnTo>
                    <a:pt x="102" y="838"/>
                  </a:lnTo>
                  <a:lnTo>
                    <a:pt x="94" y="836"/>
                  </a:lnTo>
                  <a:lnTo>
                    <a:pt x="86" y="834"/>
                  </a:lnTo>
                  <a:lnTo>
                    <a:pt x="78" y="830"/>
                  </a:lnTo>
                  <a:lnTo>
                    <a:pt x="62" y="822"/>
                  </a:lnTo>
                  <a:lnTo>
                    <a:pt x="45" y="811"/>
                  </a:lnTo>
                  <a:lnTo>
                    <a:pt x="33" y="803"/>
                  </a:lnTo>
                  <a:lnTo>
                    <a:pt x="24" y="796"/>
                  </a:lnTo>
                  <a:lnTo>
                    <a:pt x="16" y="789"/>
                  </a:lnTo>
                  <a:lnTo>
                    <a:pt x="10" y="782"/>
                  </a:lnTo>
                  <a:lnTo>
                    <a:pt x="5" y="775"/>
                  </a:lnTo>
                  <a:lnTo>
                    <a:pt x="2" y="768"/>
                  </a:lnTo>
                  <a:lnTo>
                    <a:pt x="0" y="762"/>
                  </a:lnTo>
                  <a:lnTo>
                    <a:pt x="0" y="756"/>
                  </a:lnTo>
                  <a:lnTo>
                    <a:pt x="0" y="752"/>
                  </a:lnTo>
                  <a:lnTo>
                    <a:pt x="2" y="748"/>
                  </a:lnTo>
                  <a:lnTo>
                    <a:pt x="5" y="744"/>
                  </a:lnTo>
                  <a:lnTo>
                    <a:pt x="8" y="740"/>
                  </a:lnTo>
                  <a:lnTo>
                    <a:pt x="13" y="736"/>
                  </a:lnTo>
                  <a:lnTo>
                    <a:pt x="18" y="733"/>
                  </a:lnTo>
                  <a:lnTo>
                    <a:pt x="24" y="729"/>
                  </a:lnTo>
                  <a:lnTo>
                    <a:pt x="31" y="726"/>
                  </a:lnTo>
                  <a:lnTo>
                    <a:pt x="62" y="713"/>
                  </a:lnTo>
                  <a:lnTo>
                    <a:pt x="94" y="701"/>
                  </a:lnTo>
                  <a:lnTo>
                    <a:pt x="129" y="691"/>
                  </a:lnTo>
                  <a:lnTo>
                    <a:pt x="167" y="681"/>
                  </a:lnTo>
                  <a:lnTo>
                    <a:pt x="208" y="672"/>
                  </a:lnTo>
                  <a:lnTo>
                    <a:pt x="251" y="663"/>
                  </a:lnTo>
                  <a:lnTo>
                    <a:pt x="295" y="656"/>
                  </a:lnTo>
                  <a:lnTo>
                    <a:pt x="343" y="649"/>
                  </a:lnTo>
                  <a:lnTo>
                    <a:pt x="347" y="649"/>
                  </a:lnTo>
                  <a:lnTo>
                    <a:pt x="348" y="645"/>
                  </a:lnTo>
                  <a:lnTo>
                    <a:pt x="364" y="577"/>
                  </a:lnTo>
                  <a:lnTo>
                    <a:pt x="383" y="503"/>
                  </a:lnTo>
                  <a:lnTo>
                    <a:pt x="393" y="465"/>
                  </a:lnTo>
                  <a:lnTo>
                    <a:pt x="406" y="428"/>
                  </a:lnTo>
                  <a:lnTo>
                    <a:pt x="418" y="389"/>
                  </a:lnTo>
                  <a:lnTo>
                    <a:pt x="431" y="350"/>
                  </a:lnTo>
                  <a:lnTo>
                    <a:pt x="445" y="311"/>
                  </a:lnTo>
                  <a:lnTo>
                    <a:pt x="462" y="272"/>
                  </a:lnTo>
                  <a:lnTo>
                    <a:pt x="478" y="235"/>
                  </a:lnTo>
                  <a:lnTo>
                    <a:pt x="495" y="198"/>
                  </a:lnTo>
                  <a:lnTo>
                    <a:pt x="514" y="162"/>
                  </a:lnTo>
                  <a:lnTo>
                    <a:pt x="533" y="126"/>
                  </a:lnTo>
                  <a:lnTo>
                    <a:pt x="555" y="93"/>
                  </a:lnTo>
                  <a:lnTo>
                    <a:pt x="576" y="61"/>
                  </a:lnTo>
                  <a:lnTo>
                    <a:pt x="588" y="47"/>
                  </a:lnTo>
                  <a:lnTo>
                    <a:pt x="599" y="34"/>
                  </a:lnTo>
                  <a:lnTo>
                    <a:pt x="613" y="23"/>
                  </a:lnTo>
                  <a:lnTo>
                    <a:pt x="626" y="15"/>
                  </a:lnTo>
                  <a:lnTo>
                    <a:pt x="639" y="8"/>
                  </a:lnTo>
                  <a:lnTo>
                    <a:pt x="653" y="3"/>
                  </a:lnTo>
                  <a:lnTo>
                    <a:pt x="669" y="1"/>
                  </a:lnTo>
                  <a:lnTo>
                    <a:pt x="684" y="0"/>
                  </a:lnTo>
                  <a:lnTo>
                    <a:pt x="695" y="0"/>
                  </a:lnTo>
                  <a:lnTo>
                    <a:pt x="708" y="2"/>
                  </a:lnTo>
                  <a:lnTo>
                    <a:pt x="719" y="4"/>
                  </a:lnTo>
                  <a:lnTo>
                    <a:pt x="732" y="7"/>
                  </a:lnTo>
                  <a:lnTo>
                    <a:pt x="744" y="11"/>
                  </a:lnTo>
                  <a:lnTo>
                    <a:pt x="757" y="16"/>
                  </a:lnTo>
                  <a:lnTo>
                    <a:pt x="771" y="22"/>
                  </a:lnTo>
                  <a:lnTo>
                    <a:pt x="785" y="29"/>
                  </a:lnTo>
                  <a:lnTo>
                    <a:pt x="799" y="37"/>
                  </a:lnTo>
                  <a:lnTo>
                    <a:pt x="813" y="47"/>
                  </a:lnTo>
                  <a:lnTo>
                    <a:pt x="825" y="58"/>
                  </a:lnTo>
                  <a:lnTo>
                    <a:pt x="835" y="70"/>
                  </a:lnTo>
                  <a:lnTo>
                    <a:pt x="844" y="83"/>
                  </a:lnTo>
                  <a:lnTo>
                    <a:pt x="852" y="97"/>
                  </a:lnTo>
                  <a:lnTo>
                    <a:pt x="858" y="111"/>
                  </a:lnTo>
                  <a:lnTo>
                    <a:pt x="863" y="126"/>
                  </a:lnTo>
                  <a:lnTo>
                    <a:pt x="865" y="138"/>
                  </a:lnTo>
                  <a:lnTo>
                    <a:pt x="866" y="149"/>
                  </a:lnTo>
                  <a:lnTo>
                    <a:pt x="866" y="159"/>
                  </a:lnTo>
                  <a:lnTo>
                    <a:pt x="865" y="169"/>
                  </a:lnTo>
                  <a:lnTo>
                    <a:pt x="864" y="180"/>
                  </a:lnTo>
                  <a:lnTo>
                    <a:pt x="861" y="188"/>
                  </a:lnTo>
                  <a:lnTo>
                    <a:pt x="856" y="196"/>
                  </a:lnTo>
                  <a:lnTo>
                    <a:pt x="852" y="204"/>
                  </a:lnTo>
                  <a:lnTo>
                    <a:pt x="844" y="213"/>
                  </a:lnTo>
                  <a:lnTo>
                    <a:pt x="836" y="219"/>
                  </a:lnTo>
                  <a:lnTo>
                    <a:pt x="832" y="222"/>
                  </a:lnTo>
                  <a:lnTo>
                    <a:pt x="828" y="223"/>
                  </a:lnTo>
                  <a:lnTo>
                    <a:pt x="824" y="224"/>
                  </a:lnTo>
                  <a:lnTo>
                    <a:pt x="820" y="226"/>
                  </a:lnTo>
                  <a:lnTo>
                    <a:pt x="817" y="224"/>
                  </a:lnTo>
                  <a:lnTo>
                    <a:pt x="813" y="223"/>
                  </a:lnTo>
                  <a:lnTo>
                    <a:pt x="810" y="222"/>
                  </a:lnTo>
                  <a:lnTo>
                    <a:pt x="807" y="220"/>
                  </a:lnTo>
                  <a:lnTo>
                    <a:pt x="802" y="215"/>
                  </a:lnTo>
                  <a:lnTo>
                    <a:pt x="799" y="209"/>
                  </a:lnTo>
                  <a:lnTo>
                    <a:pt x="792" y="195"/>
                  </a:lnTo>
                  <a:lnTo>
                    <a:pt x="785" y="184"/>
                  </a:lnTo>
                  <a:lnTo>
                    <a:pt x="778" y="172"/>
                  </a:lnTo>
                  <a:lnTo>
                    <a:pt x="770" y="164"/>
                  </a:lnTo>
                  <a:lnTo>
                    <a:pt x="761" y="158"/>
                  </a:lnTo>
                  <a:lnTo>
                    <a:pt x="751" y="153"/>
                  </a:lnTo>
                  <a:lnTo>
                    <a:pt x="741" y="150"/>
                  </a:lnTo>
                  <a:lnTo>
                    <a:pt x="731" y="149"/>
                  </a:lnTo>
                  <a:lnTo>
                    <a:pt x="728" y="149"/>
                  </a:lnTo>
                  <a:lnTo>
                    <a:pt x="725" y="150"/>
                  </a:lnTo>
                  <a:lnTo>
                    <a:pt x="715" y="152"/>
                  </a:lnTo>
                  <a:lnTo>
                    <a:pt x="705" y="155"/>
                  </a:lnTo>
                  <a:lnTo>
                    <a:pt x="697" y="160"/>
                  </a:lnTo>
                  <a:lnTo>
                    <a:pt x="689" y="166"/>
                  </a:lnTo>
                  <a:lnTo>
                    <a:pt x="682" y="174"/>
                  </a:lnTo>
                  <a:lnTo>
                    <a:pt x="675" y="185"/>
                  </a:lnTo>
                  <a:lnTo>
                    <a:pt x="668" y="196"/>
                  </a:lnTo>
                  <a:lnTo>
                    <a:pt x="660" y="210"/>
                  </a:lnTo>
                  <a:lnTo>
                    <a:pt x="650" y="229"/>
                  </a:lnTo>
                  <a:lnTo>
                    <a:pt x="640" y="249"/>
                  </a:lnTo>
                  <a:lnTo>
                    <a:pt x="630" y="270"/>
                  </a:lnTo>
                  <a:lnTo>
                    <a:pt x="621" y="292"/>
                  </a:lnTo>
                  <a:lnTo>
                    <a:pt x="601" y="339"/>
                  </a:lnTo>
                  <a:lnTo>
                    <a:pt x="583" y="390"/>
                  </a:lnTo>
                  <a:lnTo>
                    <a:pt x="565" y="444"/>
                  </a:lnTo>
                  <a:lnTo>
                    <a:pt x="547" y="502"/>
                  </a:lnTo>
                  <a:lnTo>
                    <a:pt x="530" y="562"/>
                  </a:lnTo>
                  <a:lnTo>
                    <a:pt x="514" y="627"/>
                  </a:lnTo>
                  <a:lnTo>
                    <a:pt x="512" y="634"/>
                  </a:lnTo>
                  <a:lnTo>
                    <a:pt x="520" y="634"/>
                  </a:lnTo>
                  <a:lnTo>
                    <a:pt x="551" y="632"/>
                  </a:lnTo>
                  <a:lnTo>
                    <a:pt x="584" y="630"/>
                  </a:lnTo>
                  <a:lnTo>
                    <a:pt x="618" y="629"/>
                  </a:lnTo>
                  <a:lnTo>
                    <a:pt x="652" y="628"/>
                  </a:lnTo>
                  <a:lnTo>
                    <a:pt x="688" y="627"/>
                  </a:lnTo>
                  <a:lnTo>
                    <a:pt x="724" y="627"/>
                  </a:lnTo>
                  <a:lnTo>
                    <a:pt x="761" y="626"/>
                  </a:lnTo>
                  <a:lnTo>
                    <a:pt x="798" y="626"/>
                  </a:lnTo>
                  <a:lnTo>
                    <a:pt x="821" y="626"/>
                  </a:lnTo>
                  <a:lnTo>
                    <a:pt x="843" y="626"/>
                  </a:lnTo>
                  <a:lnTo>
                    <a:pt x="867" y="627"/>
                  </a:lnTo>
                  <a:lnTo>
                    <a:pt x="889" y="627"/>
                  </a:lnTo>
                  <a:lnTo>
                    <a:pt x="892" y="627"/>
                  </a:lnTo>
                  <a:lnTo>
                    <a:pt x="893" y="625"/>
                  </a:lnTo>
                  <a:lnTo>
                    <a:pt x="909" y="610"/>
                  </a:lnTo>
                  <a:lnTo>
                    <a:pt x="926" y="598"/>
                  </a:lnTo>
                  <a:lnTo>
                    <a:pt x="943" y="587"/>
                  </a:lnTo>
                  <a:lnTo>
                    <a:pt x="961" y="578"/>
                  </a:lnTo>
                  <a:lnTo>
                    <a:pt x="980" y="570"/>
                  </a:lnTo>
                  <a:lnTo>
                    <a:pt x="998" y="565"/>
                  </a:lnTo>
                  <a:lnTo>
                    <a:pt x="1007" y="563"/>
                  </a:lnTo>
                  <a:lnTo>
                    <a:pt x="1018" y="562"/>
                  </a:lnTo>
                  <a:lnTo>
                    <a:pt x="1027" y="561"/>
                  </a:lnTo>
                  <a:lnTo>
                    <a:pt x="1036" y="561"/>
                  </a:lnTo>
                  <a:lnTo>
                    <a:pt x="1095" y="622"/>
                  </a:lnTo>
                  <a:lnTo>
                    <a:pt x="1056" y="68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19" name="Freeform 45"/>
            <p:cNvSpPr>
              <a:spLocks/>
            </p:cNvSpPr>
            <p:nvPr userDrawn="1"/>
          </p:nvSpPr>
          <p:spPr bwMode="auto">
            <a:xfrm>
              <a:off x="6462" y="602"/>
              <a:ext cx="36" cy="42"/>
            </a:xfrm>
            <a:custGeom>
              <a:avLst/>
              <a:gdLst>
                <a:gd name="T0" fmla="*/ 212 w 427"/>
                <a:gd name="T1" fmla="*/ 377 h 496"/>
                <a:gd name="T2" fmla="*/ 201 w 427"/>
                <a:gd name="T3" fmla="*/ 371 h 496"/>
                <a:gd name="T4" fmla="*/ 196 w 427"/>
                <a:gd name="T5" fmla="*/ 364 h 496"/>
                <a:gd name="T6" fmla="*/ 193 w 427"/>
                <a:gd name="T7" fmla="*/ 355 h 496"/>
                <a:gd name="T8" fmla="*/ 192 w 427"/>
                <a:gd name="T9" fmla="*/ 345 h 496"/>
                <a:gd name="T10" fmla="*/ 193 w 427"/>
                <a:gd name="T11" fmla="*/ 333 h 496"/>
                <a:gd name="T12" fmla="*/ 199 w 427"/>
                <a:gd name="T13" fmla="*/ 315 h 496"/>
                <a:gd name="T14" fmla="*/ 213 w 427"/>
                <a:gd name="T15" fmla="*/ 286 h 496"/>
                <a:gd name="T16" fmla="*/ 235 w 427"/>
                <a:gd name="T17" fmla="*/ 250 h 496"/>
                <a:gd name="T18" fmla="*/ 260 w 427"/>
                <a:gd name="T19" fmla="*/ 212 h 496"/>
                <a:gd name="T20" fmla="*/ 289 w 427"/>
                <a:gd name="T21" fmla="*/ 174 h 496"/>
                <a:gd name="T22" fmla="*/ 318 w 427"/>
                <a:gd name="T23" fmla="*/ 142 h 496"/>
                <a:gd name="T24" fmla="*/ 346 w 427"/>
                <a:gd name="T25" fmla="*/ 116 h 496"/>
                <a:gd name="T26" fmla="*/ 365 w 427"/>
                <a:gd name="T27" fmla="*/ 104 h 496"/>
                <a:gd name="T28" fmla="*/ 377 w 427"/>
                <a:gd name="T29" fmla="*/ 101 h 496"/>
                <a:gd name="T30" fmla="*/ 427 w 427"/>
                <a:gd name="T31" fmla="*/ 50 h 496"/>
                <a:gd name="T32" fmla="*/ 359 w 427"/>
                <a:gd name="T33" fmla="*/ 1 h 496"/>
                <a:gd name="T34" fmla="*/ 331 w 427"/>
                <a:gd name="T35" fmla="*/ 6 h 496"/>
                <a:gd name="T36" fmla="*/ 301 w 427"/>
                <a:gd name="T37" fmla="*/ 17 h 496"/>
                <a:gd name="T38" fmla="*/ 272 w 427"/>
                <a:gd name="T39" fmla="*/ 31 h 496"/>
                <a:gd name="T40" fmla="*/ 241 w 427"/>
                <a:gd name="T41" fmla="*/ 50 h 496"/>
                <a:gd name="T42" fmla="*/ 210 w 427"/>
                <a:gd name="T43" fmla="*/ 72 h 496"/>
                <a:gd name="T44" fmla="*/ 167 w 427"/>
                <a:gd name="T45" fmla="*/ 109 h 496"/>
                <a:gd name="T46" fmla="*/ 112 w 427"/>
                <a:gd name="T47" fmla="*/ 165 h 496"/>
                <a:gd name="T48" fmla="*/ 66 w 427"/>
                <a:gd name="T49" fmla="*/ 222 h 496"/>
                <a:gd name="T50" fmla="*/ 37 w 427"/>
                <a:gd name="T51" fmla="*/ 264 h 496"/>
                <a:gd name="T52" fmla="*/ 22 w 427"/>
                <a:gd name="T53" fmla="*/ 291 h 496"/>
                <a:gd name="T54" fmla="*/ 10 w 427"/>
                <a:gd name="T55" fmla="*/ 315 h 496"/>
                <a:gd name="T56" fmla="*/ 3 w 427"/>
                <a:gd name="T57" fmla="*/ 337 h 496"/>
                <a:gd name="T58" fmla="*/ 0 w 427"/>
                <a:gd name="T59" fmla="*/ 356 h 496"/>
                <a:gd name="T60" fmla="*/ 1 w 427"/>
                <a:gd name="T61" fmla="*/ 374 h 496"/>
                <a:gd name="T62" fmla="*/ 7 w 427"/>
                <a:gd name="T63" fmla="*/ 394 h 496"/>
                <a:gd name="T64" fmla="*/ 19 w 427"/>
                <a:gd name="T65" fmla="*/ 412 h 496"/>
                <a:gd name="T66" fmla="*/ 33 w 427"/>
                <a:gd name="T67" fmla="*/ 429 h 496"/>
                <a:gd name="T68" fmla="*/ 51 w 427"/>
                <a:gd name="T69" fmla="*/ 445 h 496"/>
                <a:gd name="T70" fmla="*/ 72 w 427"/>
                <a:gd name="T71" fmla="*/ 459 h 496"/>
                <a:gd name="T72" fmla="*/ 94 w 427"/>
                <a:gd name="T73" fmla="*/ 471 h 496"/>
                <a:gd name="T74" fmla="*/ 119 w 427"/>
                <a:gd name="T75" fmla="*/ 482 h 496"/>
                <a:gd name="T76" fmla="*/ 144 w 427"/>
                <a:gd name="T77" fmla="*/ 490 h 496"/>
                <a:gd name="T78" fmla="*/ 169 w 427"/>
                <a:gd name="T79" fmla="*/ 494 h 496"/>
                <a:gd name="T80" fmla="*/ 193 w 427"/>
                <a:gd name="T81" fmla="*/ 496 h 496"/>
                <a:gd name="T82" fmla="*/ 262 w 427"/>
                <a:gd name="T83" fmla="*/ 437 h 4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7" h="496">
                  <a:moveTo>
                    <a:pt x="222" y="377"/>
                  </a:moveTo>
                  <a:lnTo>
                    <a:pt x="212" y="377"/>
                  </a:lnTo>
                  <a:lnTo>
                    <a:pt x="206" y="374"/>
                  </a:lnTo>
                  <a:lnTo>
                    <a:pt x="201" y="371"/>
                  </a:lnTo>
                  <a:lnTo>
                    <a:pt x="198" y="367"/>
                  </a:lnTo>
                  <a:lnTo>
                    <a:pt x="196" y="364"/>
                  </a:lnTo>
                  <a:lnTo>
                    <a:pt x="194" y="359"/>
                  </a:lnTo>
                  <a:lnTo>
                    <a:pt x="193" y="355"/>
                  </a:lnTo>
                  <a:lnTo>
                    <a:pt x="192" y="350"/>
                  </a:lnTo>
                  <a:lnTo>
                    <a:pt x="192" y="345"/>
                  </a:lnTo>
                  <a:lnTo>
                    <a:pt x="192" y="339"/>
                  </a:lnTo>
                  <a:lnTo>
                    <a:pt x="193" y="333"/>
                  </a:lnTo>
                  <a:lnTo>
                    <a:pt x="195" y="326"/>
                  </a:lnTo>
                  <a:lnTo>
                    <a:pt x="199" y="315"/>
                  </a:lnTo>
                  <a:lnTo>
                    <a:pt x="205" y="302"/>
                  </a:lnTo>
                  <a:lnTo>
                    <a:pt x="213" y="286"/>
                  </a:lnTo>
                  <a:lnTo>
                    <a:pt x="224" y="268"/>
                  </a:lnTo>
                  <a:lnTo>
                    <a:pt x="235" y="250"/>
                  </a:lnTo>
                  <a:lnTo>
                    <a:pt x="247" y="231"/>
                  </a:lnTo>
                  <a:lnTo>
                    <a:pt x="260" y="212"/>
                  </a:lnTo>
                  <a:lnTo>
                    <a:pt x="275" y="193"/>
                  </a:lnTo>
                  <a:lnTo>
                    <a:pt x="289" y="174"/>
                  </a:lnTo>
                  <a:lnTo>
                    <a:pt x="303" y="157"/>
                  </a:lnTo>
                  <a:lnTo>
                    <a:pt x="318" y="142"/>
                  </a:lnTo>
                  <a:lnTo>
                    <a:pt x="333" y="127"/>
                  </a:lnTo>
                  <a:lnTo>
                    <a:pt x="346" y="116"/>
                  </a:lnTo>
                  <a:lnTo>
                    <a:pt x="359" y="107"/>
                  </a:lnTo>
                  <a:lnTo>
                    <a:pt x="365" y="104"/>
                  </a:lnTo>
                  <a:lnTo>
                    <a:pt x="372" y="102"/>
                  </a:lnTo>
                  <a:lnTo>
                    <a:pt x="377" y="101"/>
                  </a:lnTo>
                  <a:lnTo>
                    <a:pt x="383" y="100"/>
                  </a:lnTo>
                  <a:lnTo>
                    <a:pt x="427" y="50"/>
                  </a:lnTo>
                  <a:lnTo>
                    <a:pt x="373" y="0"/>
                  </a:lnTo>
                  <a:lnTo>
                    <a:pt x="359" y="1"/>
                  </a:lnTo>
                  <a:lnTo>
                    <a:pt x="345" y="3"/>
                  </a:lnTo>
                  <a:lnTo>
                    <a:pt x="331" y="6"/>
                  </a:lnTo>
                  <a:lnTo>
                    <a:pt x="316" y="11"/>
                  </a:lnTo>
                  <a:lnTo>
                    <a:pt x="301" y="17"/>
                  </a:lnTo>
                  <a:lnTo>
                    <a:pt x="286" y="23"/>
                  </a:lnTo>
                  <a:lnTo>
                    <a:pt x="272" y="31"/>
                  </a:lnTo>
                  <a:lnTo>
                    <a:pt x="256" y="41"/>
                  </a:lnTo>
                  <a:lnTo>
                    <a:pt x="241" y="50"/>
                  </a:lnTo>
                  <a:lnTo>
                    <a:pt x="226" y="61"/>
                  </a:lnTo>
                  <a:lnTo>
                    <a:pt x="210" y="72"/>
                  </a:lnTo>
                  <a:lnTo>
                    <a:pt x="196" y="83"/>
                  </a:lnTo>
                  <a:lnTo>
                    <a:pt x="167" y="109"/>
                  </a:lnTo>
                  <a:lnTo>
                    <a:pt x="139" y="137"/>
                  </a:lnTo>
                  <a:lnTo>
                    <a:pt x="112" y="165"/>
                  </a:lnTo>
                  <a:lnTo>
                    <a:pt x="88" y="194"/>
                  </a:lnTo>
                  <a:lnTo>
                    <a:pt x="66" y="222"/>
                  </a:lnTo>
                  <a:lnTo>
                    <a:pt x="45" y="251"/>
                  </a:lnTo>
                  <a:lnTo>
                    <a:pt x="37" y="264"/>
                  </a:lnTo>
                  <a:lnTo>
                    <a:pt x="29" y="278"/>
                  </a:lnTo>
                  <a:lnTo>
                    <a:pt x="22" y="291"/>
                  </a:lnTo>
                  <a:lnTo>
                    <a:pt x="16" y="303"/>
                  </a:lnTo>
                  <a:lnTo>
                    <a:pt x="10" y="315"/>
                  </a:lnTo>
                  <a:lnTo>
                    <a:pt x="6" y="326"/>
                  </a:lnTo>
                  <a:lnTo>
                    <a:pt x="3" y="337"/>
                  </a:lnTo>
                  <a:lnTo>
                    <a:pt x="1" y="346"/>
                  </a:lnTo>
                  <a:lnTo>
                    <a:pt x="0" y="356"/>
                  </a:lnTo>
                  <a:lnTo>
                    <a:pt x="0" y="365"/>
                  </a:lnTo>
                  <a:lnTo>
                    <a:pt x="1" y="374"/>
                  </a:lnTo>
                  <a:lnTo>
                    <a:pt x="4" y="385"/>
                  </a:lnTo>
                  <a:lnTo>
                    <a:pt x="7" y="394"/>
                  </a:lnTo>
                  <a:lnTo>
                    <a:pt x="13" y="403"/>
                  </a:lnTo>
                  <a:lnTo>
                    <a:pt x="19" y="412"/>
                  </a:lnTo>
                  <a:lnTo>
                    <a:pt x="26" y="420"/>
                  </a:lnTo>
                  <a:lnTo>
                    <a:pt x="33" y="429"/>
                  </a:lnTo>
                  <a:lnTo>
                    <a:pt x="42" y="437"/>
                  </a:lnTo>
                  <a:lnTo>
                    <a:pt x="51" y="445"/>
                  </a:lnTo>
                  <a:lnTo>
                    <a:pt x="61" y="452"/>
                  </a:lnTo>
                  <a:lnTo>
                    <a:pt x="72" y="459"/>
                  </a:lnTo>
                  <a:lnTo>
                    <a:pt x="83" y="465"/>
                  </a:lnTo>
                  <a:lnTo>
                    <a:pt x="94" y="471"/>
                  </a:lnTo>
                  <a:lnTo>
                    <a:pt x="106" y="476"/>
                  </a:lnTo>
                  <a:lnTo>
                    <a:pt x="119" y="482"/>
                  </a:lnTo>
                  <a:lnTo>
                    <a:pt x="131" y="486"/>
                  </a:lnTo>
                  <a:lnTo>
                    <a:pt x="144" y="490"/>
                  </a:lnTo>
                  <a:lnTo>
                    <a:pt x="156" y="492"/>
                  </a:lnTo>
                  <a:lnTo>
                    <a:pt x="169" y="494"/>
                  </a:lnTo>
                  <a:lnTo>
                    <a:pt x="181" y="496"/>
                  </a:lnTo>
                  <a:lnTo>
                    <a:pt x="193" y="496"/>
                  </a:lnTo>
                  <a:lnTo>
                    <a:pt x="204" y="496"/>
                  </a:lnTo>
                  <a:lnTo>
                    <a:pt x="262" y="437"/>
                  </a:lnTo>
                  <a:lnTo>
                    <a:pt x="222" y="37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0" name="Freeform 46"/>
            <p:cNvSpPr>
              <a:spLocks/>
            </p:cNvSpPr>
            <p:nvPr userDrawn="1"/>
          </p:nvSpPr>
          <p:spPr bwMode="auto">
            <a:xfrm>
              <a:off x="7208" y="606"/>
              <a:ext cx="34" cy="28"/>
            </a:xfrm>
            <a:custGeom>
              <a:avLst/>
              <a:gdLst>
                <a:gd name="T0" fmla="*/ 217 w 410"/>
                <a:gd name="T1" fmla="*/ 96 h 335"/>
                <a:gd name="T2" fmla="*/ 233 w 410"/>
                <a:gd name="T3" fmla="*/ 100 h 335"/>
                <a:gd name="T4" fmla="*/ 248 w 410"/>
                <a:gd name="T5" fmla="*/ 107 h 335"/>
                <a:gd name="T6" fmla="*/ 258 w 410"/>
                <a:gd name="T7" fmla="*/ 117 h 335"/>
                <a:gd name="T8" fmla="*/ 264 w 410"/>
                <a:gd name="T9" fmla="*/ 129 h 335"/>
                <a:gd name="T10" fmla="*/ 265 w 410"/>
                <a:gd name="T11" fmla="*/ 141 h 335"/>
                <a:gd name="T12" fmla="*/ 263 w 410"/>
                <a:gd name="T13" fmla="*/ 155 h 335"/>
                <a:gd name="T14" fmla="*/ 256 w 410"/>
                <a:gd name="T15" fmla="*/ 169 h 335"/>
                <a:gd name="T16" fmla="*/ 245 w 410"/>
                <a:gd name="T17" fmla="*/ 183 h 335"/>
                <a:gd name="T18" fmla="*/ 227 w 410"/>
                <a:gd name="T19" fmla="*/ 199 h 335"/>
                <a:gd name="T20" fmla="*/ 208 w 410"/>
                <a:gd name="T21" fmla="*/ 211 h 335"/>
                <a:gd name="T22" fmla="*/ 185 w 410"/>
                <a:gd name="T23" fmla="*/ 221 h 335"/>
                <a:gd name="T24" fmla="*/ 151 w 410"/>
                <a:gd name="T25" fmla="*/ 233 h 335"/>
                <a:gd name="T26" fmla="*/ 107 w 410"/>
                <a:gd name="T27" fmla="*/ 245 h 335"/>
                <a:gd name="T28" fmla="*/ 81 w 410"/>
                <a:gd name="T29" fmla="*/ 249 h 335"/>
                <a:gd name="T30" fmla="*/ 112 w 410"/>
                <a:gd name="T31" fmla="*/ 335 h 335"/>
                <a:gd name="T32" fmla="*/ 144 w 410"/>
                <a:gd name="T33" fmla="*/ 331 h 335"/>
                <a:gd name="T34" fmla="*/ 189 w 410"/>
                <a:gd name="T35" fmla="*/ 321 h 335"/>
                <a:gd name="T36" fmla="*/ 232 w 410"/>
                <a:gd name="T37" fmla="*/ 308 h 335"/>
                <a:gd name="T38" fmla="*/ 275 w 410"/>
                <a:gd name="T39" fmla="*/ 292 h 335"/>
                <a:gd name="T40" fmla="*/ 315 w 410"/>
                <a:gd name="T41" fmla="*/ 273 h 335"/>
                <a:gd name="T42" fmla="*/ 349 w 410"/>
                <a:gd name="T43" fmla="*/ 253 h 335"/>
                <a:gd name="T44" fmla="*/ 376 w 410"/>
                <a:gd name="T45" fmla="*/ 232 h 335"/>
                <a:gd name="T46" fmla="*/ 395 w 410"/>
                <a:gd name="T47" fmla="*/ 212 h 335"/>
                <a:gd name="T48" fmla="*/ 404 w 410"/>
                <a:gd name="T49" fmla="*/ 194 h 335"/>
                <a:gd name="T50" fmla="*/ 408 w 410"/>
                <a:gd name="T51" fmla="*/ 177 h 335"/>
                <a:gd name="T52" fmla="*/ 410 w 410"/>
                <a:gd name="T53" fmla="*/ 162 h 335"/>
                <a:gd name="T54" fmla="*/ 409 w 410"/>
                <a:gd name="T55" fmla="*/ 147 h 335"/>
                <a:gd name="T56" fmla="*/ 405 w 410"/>
                <a:gd name="T57" fmla="*/ 126 h 335"/>
                <a:gd name="T58" fmla="*/ 395 w 410"/>
                <a:gd name="T59" fmla="*/ 103 h 335"/>
                <a:gd name="T60" fmla="*/ 381 w 410"/>
                <a:gd name="T61" fmla="*/ 83 h 335"/>
                <a:gd name="T62" fmla="*/ 365 w 410"/>
                <a:gd name="T63" fmla="*/ 64 h 335"/>
                <a:gd name="T64" fmla="*/ 346 w 410"/>
                <a:gd name="T65" fmla="*/ 48 h 335"/>
                <a:gd name="T66" fmla="*/ 323 w 410"/>
                <a:gd name="T67" fmla="*/ 32 h 335"/>
                <a:gd name="T68" fmla="*/ 301 w 410"/>
                <a:gd name="T69" fmla="*/ 20 h 335"/>
                <a:gd name="T70" fmla="*/ 276 w 410"/>
                <a:gd name="T71" fmla="*/ 11 h 335"/>
                <a:gd name="T72" fmla="*/ 251 w 410"/>
                <a:gd name="T73" fmla="*/ 4 h 335"/>
                <a:gd name="T74" fmla="*/ 225 w 410"/>
                <a:gd name="T75" fmla="*/ 1 h 335"/>
                <a:gd name="T76" fmla="*/ 162 w 410"/>
                <a:gd name="T77" fmla="*/ 56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10" h="335">
                  <a:moveTo>
                    <a:pt x="209" y="96"/>
                  </a:moveTo>
                  <a:lnTo>
                    <a:pt x="217" y="96"/>
                  </a:lnTo>
                  <a:lnTo>
                    <a:pt x="226" y="98"/>
                  </a:lnTo>
                  <a:lnTo>
                    <a:pt x="233" y="100"/>
                  </a:lnTo>
                  <a:lnTo>
                    <a:pt x="241" y="103"/>
                  </a:lnTo>
                  <a:lnTo>
                    <a:pt x="248" y="107"/>
                  </a:lnTo>
                  <a:lnTo>
                    <a:pt x="253" y="111"/>
                  </a:lnTo>
                  <a:lnTo>
                    <a:pt x="258" y="117"/>
                  </a:lnTo>
                  <a:lnTo>
                    <a:pt x="261" y="123"/>
                  </a:lnTo>
                  <a:lnTo>
                    <a:pt x="264" y="129"/>
                  </a:lnTo>
                  <a:lnTo>
                    <a:pt x="265" y="135"/>
                  </a:lnTo>
                  <a:lnTo>
                    <a:pt x="265" y="141"/>
                  </a:lnTo>
                  <a:lnTo>
                    <a:pt x="264" y="148"/>
                  </a:lnTo>
                  <a:lnTo>
                    <a:pt x="263" y="155"/>
                  </a:lnTo>
                  <a:lnTo>
                    <a:pt x="260" y="162"/>
                  </a:lnTo>
                  <a:lnTo>
                    <a:pt x="256" y="169"/>
                  </a:lnTo>
                  <a:lnTo>
                    <a:pt x="252" y="175"/>
                  </a:lnTo>
                  <a:lnTo>
                    <a:pt x="245" y="183"/>
                  </a:lnTo>
                  <a:lnTo>
                    <a:pt x="236" y="192"/>
                  </a:lnTo>
                  <a:lnTo>
                    <a:pt x="227" y="199"/>
                  </a:lnTo>
                  <a:lnTo>
                    <a:pt x="218" y="205"/>
                  </a:lnTo>
                  <a:lnTo>
                    <a:pt x="208" y="211"/>
                  </a:lnTo>
                  <a:lnTo>
                    <a:pt x="197" y="216"/>
                  </a:lnTo>
                  <a:lnTo>
                    <a:pt x="185" y="221"/>
                  </a:lnTo>
                  <a:lnTo>
                    <a:pt x="174" y="226"/>
                  </a:lnTo>
                  <a:lnTo>
                    <a:pt x="151" y="233"/>
                  </a:lnTo>
                  <a:lnTo>
                    <a:pt x="128" y="239"/>
                  </a:lnTo>
                  <a:lnTo>
                    <a:pt x="107" y="245"/>
                  </a:lnTo>
                  <a:lnTo>
                    <a:pt x="88" y="248"/>
                  </a:lnTo>
                  <a:lnTo>
                    <a:pt x="81" y="249"/>
                  </a:lnTo>
                  <a:lnTo>
                    <a:pt x="0" y="328"/>
                  </a:lnTo>
                  <a:lnTo>
                    <a:pt x="112" y="335"/>
                  </a:lnTo>
                  <a:lnTo>
                    <a:pt x="121" y="334"/>
                  </a:lnTo>
                  <a:lnTo>
                    <a:pt x="144" y="331"/>
                  </a:lnTo>
                  <a:lnTo>
                    <a:pt x="165" y="326"/>
                  </a:lnTo>
                  <a:lnTo>
                    <a:pt x="189" y="321"/>
                  </a:lnTo>
                  <a:lnTo>
                    <a:pt x="211" y="315"/>
                  </a:lnTo>
                  <a:lnTo>
                    <a:pt x="232" y="308"/>
                  </a:lnTo>
                  <a:lnTo>
                    <a:pt x="255" y="300"/>
                  </a:lnTo>
                  <a:lnTo>
                    <a:pt x="275" y="292"/>
                  </a:lnTo>
                  <a:lnTo>
                    <a:pt x="296" y="282"/>
                  </a:lnTo>
                  <a:lnTo>
                    <a:pt x="315" y="273"/>
                  </a:lnTo>
                  <a:lnTo>
                    <a:pt x="332" y="263"/>
                  </a:lnTo>
                  <a:lnTo>
                    <a:pt x="349" y="253"/>
                  </a:lnTo>
                  <a:lnTo>
                    <a:pt x="363" y="243"/>
                  </a:lnTo>
                  <a:lnTo>
                    <a:pt x="376" y="232"/>
                  </a:lnTo>
                  <a:lnTo>
                    <a:pt x="386" y="222"/>
                  </a:lnTo>
                  <a:lnTo>
                    <a:pt x="395" y="212"/>
                  </a:lnTo>
                  <a:lnTo>
                    <a:pt x="400" y="203"/>
                  </a:lnTo>
                  <a:lnTo>
                    <a:pt x="404" y="194"/>
                  </a:lnTo>
                  <a:lnTo>
                    <a:pt x="406" y="185"/>
                  </a:lnTo>
                  <a:lnTo>
                    <a:pt x="408" y="177"/>
                  </a:lnTo>
                  <a:lnTo>
                    <a:pt x="409" y="169"/>
                  </a:lnTo>
                  <a:lnTo>
                    <a:pt x="410" y="162"/>
                  </a:lnTo>
                  <a:lnTo>
                    <a:pt x="409" y="154"/>
                  </a:lnTo>
                  <a:lnTo>
                    <a:pt x="409" y="147"/>
                  </a:lnTo>
                  <a:lnTo>
                    <a:pt x="408" y="139"/>
                  </a:lnTo>
                  <a:lnTo>
                    <a:pt x="405" y="126"/>
                  </a:lnTo>
                  <a:lnTo>
                    <a:pt x="400" y="114"/>
                  </a:lnTo>
                  <a:lnTo>
                    <a:pt x="395" y="103"/>
                  </a:lnTo>
                  <a:lnTo>
                    <a:pt x="388" y="93"/>
                  </a:lnTo>
                  <a:lnTo>
                    <a:pt x="381" y="83"/>
                  </a:lnTo>
                  <a:lnTo>
                    <a:pt x="373" y="73"/>
                  </a:lnTo>
                  <a:lnTo>
                    <a:pt x="365" y="64"/>
                  </a:lnTo>
                  <a:lnTo>
                    <a:pt x="355" y="56"/>
                  </a:lnTo>
                  <a:lnTo>
                    <a:pt x="346" y="48"/>
                  </a:lnTo>
                  <a:lnTo>
                    <a:pt x="334" y="39"/>
                  </a:lnTo>
                  <a:lnTo>
                    <a:pt x="323" y="32"/>
                  </a:lnTo>
                  <a:lnTo>
                    <a:pt x="312" y="26"/>
                  </a:lnTo>
                  <a:lnTo>
                    <a:pt x="301" y="20"/>
                  </a:lnTo>
                  <a:lnTo>
                    <a:pt x="288" y="15"/>
                  </a:lnTo>
                  <a:lnTo>
                    <a:pt x="276" y="11"/>
                  </a:lnTo>
                  <a:lnTo>
                    <a:pt x="263" y="7"/>
                  </a:lnTo>
                  <a:lnTo>
                    <a:pt x="251" y="4"/>
                  </a:lnTo>
                  <a:lnTo>
                    <a:pt x="239" y="2"/>
                  </a:lnTo>
                  <a:lnTo>
                    <a:pt x="225" y="1"/>
                  </a:lnTo>
                  <a:lnTo>
                    <a:pt x="213" y="0"/>
                  </a:lnTo>
                  <a:lnTo>
                    <a:pt x="162" y="56"/>
                  </a:lnTo>
                  <a:lnTo>
                    <a:pt x="209" y="9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1" name="Freeform 47"/>
            <p:cNvSpPr>
              <a:spLocks/>
            </p:cNvSpPr>
            <p:nvPr userDrawn="1"/>
          </p:nvSpPr>
          <p:spPr bwMode="auto">
            <a:xfrm>
              <a:off x="7156" y="565"/>
              <a:ext cx="109" cy="121"/>
            </a:xfrm>
            <a:custGeom>
              <a:avLst/>
              <a:gdLst>
                <a:gd name="T0" fmla="*/ 802 w 1307"/>
                <a:gd name="T1" fmla="*/ 593 h 1456"/>
                <a:gd name="T2" fmla="*/ 746 w 1307"/>
                <a:gd name="T3" fmla="*/ 629 h 1456"/>
                <a:gd name="T4" fmla="*/ 713 w 1307"/>
                <a:gd name="T5" fmla="*/ 692 h 1456"/>
                <a:gd name="T6" fmla="*/ 748 w 1307"/>
                <a:gd name="T7" fmla="*/ 832 h 1456"/>
                <a:gd name="T8" fmla="*/ 838 w 1307"/>
                <a:gd name="T9" fmla="*/ 916 h 1456"/>
                <a:gd name="T10" fmla="*/ 970 w 1307"/>
                <a:gd name="T11" fmla="*/ 963 h 1456"/>
                <a:gd name="T12" fmla="*/ 1127 w 1307"/>
                <a:gd name="T13" fmla="*/ 971 h 1456"/>
                <a:gd name="T14" fmla="*/ 1282 w 1307"/>
                <a:gd name="T15" fmla="*/ 944 h 1456"/>
                <a:gd name="T16" fmla="*/ 1306 w 1307"/>
                <a:gd name="T17" fmla="*/ 948 h 1456"/>
                <a:gd name="T18" fmla="*/ 1299 w 1307"/>
                <a:gd name="T19" fmla="*/ 972 h 1456"/>
                <a:gd name="T20" fmla="*/ 1255 w 1307"/>
                <a:gd name="T21" fmla="*/ 1007 h 1456"/>
                <a:gd name="T22" fmla="*/ 1166 w 1307"/>
                <a:gd name="T23" fmla="*/ 1042 h 1456"/>
                <a:gd name="T24" fmla="*/ 1051 w 1307"/>
                <a:gd name="T25" fmla="*/ 1057 h 1456"/>
                <a:gd name="T26" fmla="*/ 851 w 1307"/>
                <a:gd name="T27" fmla="*/ 1032 h 1456"/>
                <a:gd name="T28" fmla="*/ 687 w 1307"/>
                <a:gd name="T29" fmla="*/ 959 h 1456"/>
                <a:gd name="T30" fmla="*/ 585 w 1307"/>
                <a:gd name="T31" fmla="*/ 864 h 1456"/>
                <a:gd name="T32" fmla="*/ 547 w 1307"/>
                <a:gd name="T33" fmla="*/ 796 h 1456"/>
                <a:gd name="T34" fmla="*/ 533 w 1307"/>
                <a:gd name="T35" fmla="*/ 728 h 1456"/>
                <a:gd name="T36" fmla="*/ 471 w 1307"/>
                <a:gd name="T37" fmla="*/ 717 h 1456"/>
                <a:gd name="T38" fmla="*/ 295 w 1307"/>
                <a:gd name="T39" fmla="*/ 760 h 1456"/>
                <a:gd name="T40" fmla="*/ 263 w 1307"/>
                <a:gd name="T41" fmla="*/ 950 h 1456"/>
                <a:gd name="T42" fmla="*/ 242 w 1307"/>
                <a:gd name="T43" fmla="*/ 1207 h 1456"/>
                <a:gd name="T44" fmla="*/ 249 w 1307"/>
                <a:gd name="T45" fmla="*/ 1425 h 1456"/>
                <a:gd name="T46" fmla="*/ 235 w 1307"/>
                <a:gd name="T47" fmla="*/ 1455 h 1456"/>
                <a:gd name="T48" fmla="*/ 183 w 1307"/>
                <a:gd name="T49" fmla="*/ 1441 h 1456"/>
                <a:gd name="T50" fmla="*/ 132 w 1307"/>
                <a:gd name="T51" fmla="*/ 1388 h 1456"/>
                <a:gd name="T52" fmla="*/ 101 w 1307"/>
                <a:gd name="T53" fmla="*/ 1291 h 1456"/>
                <a:gd name="T54" fmla="*/ 98 w 1307"/>
                <a:gd name="T55" fmla="*/ 1045 h 1456"/>
                <a:gd name="T56" fmla="*/ 123 w 1307"/>
                <a:gd name="T57" fmla="*/ 785 h 1456"/>
                <a:gd name="T58" fmla="*/ 59 w 1307"/>
                <a:gd name="T59" fmla="*/ 774 h 1456"/>
                <a:gd name="T60" fmla="*/ 29 w 1307"/>
                <a:gd name="T61" fmla="*/ 747 h 1456"/>
                <a:gd name="T62" fmla="*/ 0 w 1307"/>
                <a:gd name="T63" fmla="*/ 679 h 1456"/>
                <a:gd name="T64" fmla="*/ 21 w 1307"/>
                <a:gd name="T65" fmla="*/ 654 h 1456"/>
                <a:gd name="T66" fmla="*/ 95 w 1307"/>
                <a:gd name="T67" fmla="*/ 659 h 1456"/>
                <a:gd name="T68" fmla="*/ 174 w 1307"/>
                <a:gd name="T69" fmla="*/ 563 h 1456"/>
                <a:gd name="T70" fmla="*/ 246 w 1307"/>
                <a:gd name="T71" fmla="*/ 312 h 1456"/>
                <a:gd name="T72" fmla="*/ 332 w 1307"/>
                <a:gd name="T73" fmla="*/ 113 h 1456"/>
                <a:gd name="T74" fmla="*/ 407 w 1307"/>
                <a:gd name="T75" fmla="*/ 15 h 1456"/>
                <a:gd name="T76" fmla="*/ 488 w 1307"/>
                <a:gd name="T77" fmla="*/ 3 h 1456"/>
                <a:gd name="T78" fmla="*/ 569 w 1307"/>
                <a:gd name="T79" fmla="*/ 39 h 1456"/>
                <a:gd name="T80" fmla="*/ 619 w 1307"/>
                <a:gd name="T81" fmla="*/ 95 h 1456"/>
                <a:gd name="T82" fmla="*/ 634 w 1307"/>
                <a:gd name="T83" fmla="*/ 156 h 1456"/>
                <a:gd name="T84" fmla="*/ 621 w 1307"/>
                <a:gd name="T85" fmla="*/ 200 h 1456"/>
                <a:gd name="T86" fmla="*/ 598 w 1307"/>
                <a:gd name="T87" fmla="*/ 214 h 1456"/>
                <a:gd name="T88" fmla="*/ 578 w 1307"/>
                <a:gd name="T89" fmla="*/ 195 h 1456"/>
                <a:gd name="T90" fmla="*/ 535 w 1307"/>
                <a:gd name="T91" fmla="*/ 146 h 1456"/>
                <a:gd name="T92" fmla="*/ 494 w 1307"/>
                <a:gd name="T93" fmla="*/ 149 h 1456"/>
                <a:gd name="T94" fmla="*/ 451 w 1307"/>
                <a:gd name="T95" fmla="*/ 206 h 1456"/>
                <a:gd name="T96" fmla="*/ 345 w 1307"/>
                <a:gd name="T97" fmla="*/ 519 h 1456"/>
                <a:gd name="T98" fmla="*/ 388 w 1307"/>
                <a:gd name="T99" fmla="*/ 638 h 1456"/>
                <a:gd name="T100" fmla="*/ 594 w 1307"/>
                <a:gd name="T101" fmla="*/ 595 h 1456"/>
                <a:gd name="T102" fmla="*/ 650 w 1307"/>
                <a:gd name="T103" fmla="*/ 551 h 1456"/>
                <a:gd name="T104" fmla="*/ 746 w 1307"/>
                <a:gd name="T105" fmla="*/ 506 h 1456"/>
                <a:gd name="T106" fmla="*/ 844 w 1307"/>
                <a:gd name="T107" fmla="*/ 489 h 1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7" h="1456">
                  <a:moveTo>
                    <a:pt x="840" y="585"/>
                  </a:moveTo>
                  <a:lnTo>
                    <a:pt x="833" y="585"/>
                  </a:lnTo>
                  <a:lnTo>
                    <a:pt x="826" y="586"/>
                  </a:lnTo>
                  <a:lnTo>
                    <a:pt x="820" y="587"/>
                  </a:lnTo>
                  <a:lnTo>
                    <a:pt x="812" y="589"/>
                  </a:lnTo>
                  <a:lnTo>
                    <a:pt x="802" y="593"/>
                  </a:lnTo>
                  <a:lnTo>
                    <a:pt x="792" y="597"/>
                  </a:lnTo>
                  <a:lnTo>
                    <a:pt x="783" y="602"/>
                  </a:lnTo>
                  <a:lnTo>
                    <a:pt x="773" y="608"/>
                  </a:lnTo>
                  <a:lnTo>
                    <a:pt x="763" y="615"/>
                  </a:lnTo>
                  <a:lnTo>
                    <a:pt x="755" y="622"/>
                  </a:lnTo>
                  <a:lnTo>
                    <a:pt x="746" y="629"/>
                  </a:lnTo>
                  <a:lnTo>
                    <a:pt x="739" y="639"/>
                  </a:lnTo>
                  <a:lnTo>
                    <a:pt x="732" y="648"/>
                  </a:lnTo>
                  <a:lnTo>
                    <a:pt x="726" y="658"/>
                  </a:lnTo>
                  <a:lnTo>
                    <a:pt x="721" y="668"/>
                  </a:lnTo>
                  <a:lnTo>
                    <a:pt x="717" y="679"/>
                  </a:lnTo>
                  <a:lnTo>
                    <a:pt x="713" y="692"/>
                  </a:lnTo>
                  <a:lnTo>
                    <a:pt x="711" y="704"/>
                  </a:lnTo>
                  <a:lnTo>
                    <a:pt x="711" y="717"/>
                  </a:lnTo>
                  <a:lnTo>
                    <a:pt x="711" y="732"/>
                  </a:lnTo>
                  <a:lnTo>
                    <a:pt x="712" y="738"/>
                  </a:lnTo>
                  <a:lnTo>
                    <a:pt x="743" y="824"/>
                  </a:lnTo>
                  <a:lnTo>
                    <a:pt x="748" y="832"/>
                  </a:lnTo>
                  <a:lnTo>
                    <a:pt x="759" y="848"/>
                  </a:lnTo>
                  <a:lnTo>
                    <a:pt x="773" y="863"/>
                  </a:lnTo>
                  <a:lnTo>
                    <a:pt x="787" y="879"/>
                  </a:lnTo>
                  <a:lnTo>
                    <a:pt x="803" y="892"/>
                  </a:lnTo>
                  <a:lnTo>
                    <a:pt x="820" y="904"/>
                  </a:lnTo>
                  <a:lnTo>
                    <a:pt x="838" y="916"/>
                  </a:lnTo>
                  <a:lnTo>
                    <a:pt x="857" y="926"/>
                  </a:lnTo>
                  <a:lnTo>
                    <a:pt x="878" y="936"/>
                  </a:lnTo>
                  <a:lnTo>
                    <a:pt x="899" y="945"/>
                  </a:lnTo>
                  <a:lnTo>
                    <a:pt x="922" y="952"/>
                  </a:lnTo>
                  <a:lnTo>
                    <a:pt x="946" y="958"/>
                  </a:lnTo>
                  <a:lnTo>
                    <a:pt x="970" y="963"/>
                  </a:lnTo>
                  <a:lnTo>
                    <a:pt x="996" y="967"/>
                  </a:lnTo>
                  <a:lnTo>
                    <a:pt x="1021" y="970"/>
                  </a:lnTo>
                  <a:lnTo>
                    <a:pt x="1049" y="972"/>
                  </a:lnTo>
                  <a:lnTo>
                    <a:pt x="1077" y="973"/>
                  </a:lnTo>
                  <a:lnTo>
                    <a:pt x="1102" y="972"/>
                  </a:lnTo>
                  <a:lnTo>
                    <a:pt x="1127" y="971"/>
                  </a:lnTo>
                  <a:lnTo>
                    <a:pt x="1152" y="968"/>
                  </a:lnTo>
                  <a:lnTo>
                    <a:pt x="1178" y="965"/>
                  </a:lnTo>
                  <a:lnTo>
                    <a:pt x="1204" y="961"/>
                  </a:lnTo>
                  <a:lnTo>
                    <a:pt x="1230" y="956"/>
                  </a:lnTo>
                  <a:lnTo>
                    <a:pt x="1255" y="950"/>
                  </a:lnTo>
                  <a:lnTo>
                    <a:pt x="1282" y="944"/>
                  </a:lnTo>
                  <a:lnTo>
                    <a:pt x="1291" y="942"/>
                  </a:lnTo>
                  <a:lnTo>
                    <a:pt x="1298" y="942"/>
                  </a:lnTo>
                  <a:lnTo>
                    <a:pt x="1301" y="943"/>
                  </a:lnTo>
                  <a:lnTo>
                    <a:pt x="1303" y="944"/>
                  </a:lnTo>
                  <a:lnTo>
                    <a:pt x="1305" y="945"/>
                  </a:lnTo>
                  <a:lnTo>
                    <a:pt x="1306" y="948"/>
                  </a:lnTo>
                  <a:lnTo>
                    <a:pt x="1307" y="951"/>
                  </a:lnTo>
                  <a:lnTo>
                    <a:pt x="1307" y="954"/>
                  </a:lnTo>
                  <a:lnTo>
                    <a:pt x="1306" y="958"/>
                  </a:lnTo>
                  <a:lnTo>
                    <a:pt x="1305" y="963"/>
                  </a:lnTo>
                  <a:lnTo>
                    <a:pt x="1302" y="967"/>
                  </a:lnTo>
                  <a:lnTo>
                    <a:pt x="1299" y="972"/>
                  </a:lnTo>
                  <a:lnTo>
                    <a:pt x="1295" y="978"/>
                  </a:lnTo>
                  <a:lnTo>
                    <a:pt x="1291" y="983"/>
                  </a:lnTo>
                  <a:lnTo>
                    <a:pt x="1284" y="989"/>
                  </a:lnTo>
                  <a:lnTo>
                    <a:pt x="1275" y="995"/>
                  </a:lnTo>
                  <a:lnTo>
                    <a:pt x="1265" y="1001"/>
                  </a:lnTo>
                  <a:lnTo>
                    <a:pt x="1255" y="1007"/>
                  </a:lnTo>
                  <a:lnTo>
                    <a:pt x="1243" y="1013"/>
                  </a:lnTo>
                  <a:lnTo>
                    <a:pt x="1230" y="1019"/>
                  </a:lnTo>
                  <a:lnTo>
                    <a:pt x="1215" y="1025"/>
                  </a:lnTo>
                  <a:lnTo>
                    <a:pt x="1200" y="1032"/>
                  </a:lnTo>
                  <a:lnTo>
                    <a:pt x="1184" y="1037"/>
                  </a:lnTo>
                  <a:lnTo>
                    <a:pt x="1166" y="1042"/>
                  </a:lnTo>
                  <a:lnTo>
                    <a:pt x="1149" y="1046"/>
                  </a:lnTo>
                  <a:lnTo>
                    <a:pt x="1131" y="1050"/>
                  </a:lnTo>
                  <a:lnTo>
                    <a:pt x="1111" y="1053"/>
                  </a:lnTo>
                  <a:lnTo>
                    <a:pt x="1092" y="1055"/>
                  </a:lnTo>
                  <a:lnTo>
                    <a:pt x="1071" y="1056"/>
                  </a:lnTo>
                  <a:lnTo>
                    <a:pt x="1051" y="1057"/>
                  </a:lnTo>
                  <a:lnTo>
                    <a:pt x="1015" y="1056"/>
                  </a:lnTo>
                  <a:lnTo>
                    <a:pt x="981" y="1054"/>
                  </a:lnTo>
                  <a:lnTo>
                    <a:pt x="947" y="1050"/>
                  </a:lnTo>
                  <a:lnTo>
                    <a:pt x="914" y="1046"/>
                  </a:lnTo>
                  <a:lnTo>
                    <a:pt x="882" y="1039"/>
                  </a:lnTo>
                  <a:lnTo>
                    <a:pt x="851" y="1032"/>
                  </a:lnTo>
                  <a:lnTo>
                    <a:pt x="821" y="1022"/>
                  </a:lnTo>
                  <a:lnTo>
                    <a:pt x="792" y="1012"/>
                  </a:lnTo>
                  <a:lnTo>
                    <a:pt x="763" y="1001"/>
                  </a:lnTo>
                  <a:lnTo>
                    <a:pt x="737" y="988"/>
                  </a:lnTo>
                  <a:lnTo>
                    <a:pt x="710" y="974"/>
                  </a:lnTo>
                  <a:lnTo>
                    <a:pt x="687" y="959"/>
                  </a:lnTo>
                  <a:lnTo>
                    <a:pt x="663" y="943"/>
                  </a:lnTo>
                  <a:lnTo>
                    <a:pt x="642" y="925"/>
                  </a:lnTo>
                  <a:lnTo>
                    <a:pt x="622" y="906"/>
                  </a:lnTo>
                  <a:lnTo>
                    <a:pt x="603" y="887"/>
                  </a:lnTo>
                  <a:lnTo>
                    <a:pt x="594" y="875"/>
                  </a:lnTo>
                  <a:lnTo>
                    <a:pt x="585" y="864"/>
                  </a:lnTo>
                  <a:lnTo>
                    <a:pt x="577" y="853"/>
                  </a:lnTo>
                  <a:lnTo>
                    <a:pt x="570" y="842"/>
                  </a:lnTo>
                  <a:lnTo>
                    <a:pt x="562" y="831"/>
                  </a:lnTo>
                  <a:lnTo>
                    <a:pt x="557" y="819"/>
                  </a:lnTo>
                  <a:lnTo>
                    <a:pt x="551" y="808"/>
                  </a:lnTo>
                  <a:lnTo>
                    <a:pt x="547" y="796"/>
                  </a:lnTo>
                  <a:lnTo>
                    <a:pt x="543" y="785"/>
                  </a:lnTo>
                  <a:lnTo>
                    <a:pt x="539" y="773"/>
                  </a:lnTo>
                  <a:lnTo>
                    <a:pt x="537" y="762"/>
                  </a:lnTo>
                  <a:lnTo>
                    <a:pt x="535" y="751"/>
                  </a:lnTo>
                  <a:lnTo>
                    <a:pt x="534" y="740"/>
                  </a:lnTo>
                  <a:lnTo>
                    <a:pt x="533" y="728"/>
                  </a:lnTo>
                  <a:lnTo>
                    <a:pt x="533" y="718"/>
                  </a:lnTo>
                  <a:lnTo>
                    <a:pt x="534" y="707"/>
                  </a:lnTo>
                  <a:lnTo>
                    <a:pt x="535" y="699"/>
                  </a:lnTo>
                  <a:lnTo>
                    <a:pt x="527" y="701"/>
                  </a:lnTo>
                  <a:lnTo>
                    <a:pt x="499" y="709"/>
                  </a:lnTo>
                  <a:lnTo>
                    <a:pt x="471" y="717"/>
                  </a:lnTo>
                  <a:lnTo>
                    <a:pt x="442" y="725"/>
                  </a:lnTo>
                  <a:lnTo>
                    <a:pt x="413" y="733"/>
                  </a:lnTo>
                  <a:lnTo>
                    <a:pt x="383" y="740"/>
                  </a:lnTo>
                  <a:lnTo>
                    <a:pt x="353" y="747"/>
                  </a:lnTo>
                  <a:lnTo>
                    <a:pt x="325" y="754"/>
                  </a:lnTo>
                  <a:lnTo>
                    <a:pt x="295" y="760"/>
                  </a:lnTo>
                  <a:lnTo>
                    <a:pt x="292" y="761"/>
                  </a:lnTo>
                  <a:lnTo>
                    <a:pt x="291" y="764"/>
                  </a:lnTo>
                  <a:lnTo>
                    <a:pt x="283" y="811"/>
                  </a:lnTo>
                  <a:lnTo>
                    <a:pt x="275" y="858"/>
                  </a:lnTo>
                  <a:lnTo>
                    <a:pt x="269" y="904"/>
                  </a:lnTo>
                  <a:lnTo>
                    <a:pt x="263" y="950"/>
                  </a:lnTo>
                  <a:lnTo>
                    <a:pt x="258" y="995"/>
                  </a:lnTo>
                  <a:lnTo>
                    <a:pt x="252" y="1039"/>
                  </a:lnTo>
                  <a:lnTo>
                    <a:pt x="248" y="1083"/>
                  </a:lnTo>
                  <a:lnTo>
                    <a:pt x="245" y="1126"/>
                  </a:lnTo>
                  <a:lnTo>
                    <a:pt x="243" y="1167"/>
                  </a:lnTo>
                  <a:lnTo>
                    <a:pt x="242" y="1207"/>
                  </a:lnTo>
                  <a:lnTo>
                    <a:pt x="241" y="1247"/>
                  </a:lnTo>
                  <a:lnTo>
                    <a:pt x="241" y="1286"/>
                  </a:lnTo>
                  <a:lnTo>
                    <a:pt x="242" y="1323"/>
                  </a:lnTo>
                  <a:lnTo>
                    <a:pt x="243" y="1358"/>
                  </a:lnTo>
                  <a:lnTo>
                    <a:pt x="246" y="1392"/>
                  </a:lnTo>
                  <a:lnTo>
                    <a:pt x="249" y="1425"/>
                  </a:lnTo>
                  <a:lnTo>
                    <a:pt x="250" y="1433"/>
                  </a:lnTo>
                  <a:lnTo>
                    <a:pt x="249" y="1440"/>
                  </a:lnTo>
                  <a:lnTo>
                    <a:pt x="247" y="1446"/>
                  </a:lnTo>
                  <a:lnTo>
                    <a:pt x="245" y="1450"/>
                  </a:lnTo>
                  <a:lnTo>
                    <a:pt x="240" y="1454"/>
                  </a:lnTo>
                  <a:lnTo>
                    <a:pt x="235" y="1455"/>
                  </a:lnTo>
                  <a:lnTo>
                    <a:pt x="228" y="1456"/>
                  </a:lnTo>
                  <a:lnTo>
                    <a:pt x="221" y="1455"/>
                  </a:lnTo>
                  <a:lnTo>
                    <a:pt x="212" y="1453"/>
                  </a:lnTo>
                  <a:lnTo>
                    <a:pt x="202" y="1450"/>
                  </a:lnTo>
                  <a:lnTo>
                    <a:pt x="193" y="1446"/>
                  </a:lnTo>
                  <a:lnTo>
                    <a:pt x="183" y="1441"/>
                  </a:lnTo>
                  <a:lnTo>
                    <a:pt x="171" y="1434"/>
                  </a:lnTo>
                  <a:lnTo>
                    <a:pt x="158" y="1423"/>
                  </a:lnTo>
                  <a:lnTo>
                    <a:pt x="150" y="1415"/>
                  </a:lnTo>
                  <a:lnTo>
                    <a:pt x="144" y="1407"/>
                  </a:lnTo>
                  <a:lnTo>
                    <a:pt x="138" y="1398"/>
                  </a:lnTo>
                  <a:lnTo>
                    <a:pt x="132" y="1388"/>
                  </a:lnTo>
                  <a:lnTo>
                    <a:pt x="126" y="1376"/>
                  </a:lnTo>
                  <a:lnTo>
                    <a:pt x="120" y="1362"/>
                  </a:lnTo>
                  <a:lnTo>
                    <a:pt x="115" y="1347"/>
                  </a:lnTo>
                  <a:lnTo>
                    <a:pt x="110" y="1331"/>
                  </a:lnTo>
                  <a:lnTo>
                    <a:pt x="106" y="1311"/>
                  </a:lnTo>
                  <a:lnTo>
                    <a:pt x="101" y="1291"/>
                  </a:lnTo>
                  <a:lnTo>
                    <a:pt x="98" y="1268"/>
                  </a:lnTo>
                  <a:lnTo>
                    <a:pt x="96" y="1243"/>
                  </a:lnTo>
                  <a:lnTo>
                    <a:pt x="94" y="1201"/>
                  </a:lnTo>
                  <a:lnTo>
                    <a:pt x="94" y="1154"/>
                  </a:lnTo>
                  <a:lnTo>
                    <a:pt x="95" y="1101"/>
                  </a:lnTo>
                  <a:lnTo>
                    <a:pt x="98" y="1045"/>
                  </a:lnTo>
                  <a:lnTo>
                    <a:pt x="103" y="985"/>
                  </a:lnTo>
                  <a:lnTo>
                    <a:pt x="111" y="922"/>
                  </a:lnTo>
                  <a:lnTo>
                    <a:pt x="119" y="858"/>
                  </a:lnTo>
                  <a:lnTo>
                    <a:pt x="129" y="791"/>
                  </a:lnTo>
                  <a:lnTo>
                    <a:pt x="130" y="785"/>
                  </a:lnTo>
                  <a:lnTo>
                    <a:pt x="123" y="785"/>
                  </a:lnTo>
                  <a:lnTo>
                    <a:pt x="109" y="785"/>
                  </a:lnTo>
                  <a:lnTo>
                    <a:pt x="95" y="784"/>
                  </a:lnTo>
                  <a:lnTo>
                    <a:pt x="82" y="782"/>
                  </a:lnTo>
                  <a:lnTo>
                    <a:pt x="70" y="778"/>
                  </a:lnTo>
                  <a:lnTo>
                    <a:pt x="64" y="776"/>
                  </a:lnTo>
                  <a:lnTo>
                    <a:pt x="59" y="774"/>
                  </a:lnTo>
                  <a:lnTo>
                    <a:pt x="52" y="771"/>
                  </a:lnTo>
                  <a:lnTo>
                    <a:pt x="47" y="767"/>
                  </a:lnTo>
                  <a:lnTo>
                    <a:pt x="42" y="763"/>
                  </a:lnTo>
                  <a:lnTo>
                    <a:pt x="38" y="758"/>
                  </a:lnTo>
                  <a:lnTo>
                    <a:pt x="33" y="753"/>
                  </a:lnTo>
                  <a:lnTo>
                    <a:pt x="29" y="747"/>
                  </a:lnTo>
                  <a:lnTo>
                    <a:pt x="21" y="734"/>
                  </a:lnTo>
                  <a:lnTo>
                    <a:pt x="14" y="721"/>
                  </a:lnTo>
                  <a:lnTo>
                    <a:pt x="8" y="709"/>
                  </a:lnTo>
                  <a:lnTo>
                    <a:pt x="4" y="698"/>
                  </a:lnTo>
                  <a:lnTo>
                    <a:pt x="1" y="689"/>
                  </a:lnTo>
                  <a:lnTo>
                    <a:pt x="0" y="679"/>
                  </a:lnTo>
                  <a:lnTo>
                    <a:pt x="1" y="672"/>
                  </a:lnTo>
                  <a:lnTo>
                    <a:pt x="4" y="665"/>
                  </a:lnTo>
                  <a:lnTo>
                    <a:pt x="7" y="662"/>
                  </a:lnTo>
                  <a:lnTo>
                    <a:pt x="10" y="658"/>
                  </a:lnTo>
                  <a:lnTo>
                    <a:pt x="15" y="656"/>
                  </a:lnTo>
                  <a:lnTo>
                    <a:pt x="21" y="654"/>
                  </a:lnTo>
                  <a:lnTo>
                    <a:pt x="27" y="653"/>
                  </a:lnTo>
                  <a:lnTo>
                    <a:pt x="35" y="653"/>
                  </a:lnTo>
                  <a:lnTo>
                    <a:pt x="43" y="653"/>
                  </a:lnTo>
                  <a:lnTo>
                    <a:pt x="52" y="655"/>
                  </a:lnTo>
                  <a:lnTo>
                    <a:pt x="73" y="657"/>
                  </a:lnTo>
                  <a:lnTo>
                    <a:pt x="95" y="659"/>
                  </a:lnTo>
                  <a:lnTo>
                    <a:pt x="119" y="661"/>
                  </a:lnTo>
                  <a:lnTo>
                    <a:pt x="145" y="661"/>
                  </a:lnTo>
                  <a:lnTo>
                    <a:pt x="152" y="661"/>
                  </a:lnTo>
                  <a:lnTo>
                    <a:pt x="153" y="656"/>
                  </a:lnTo>
                  <a:lnTo>
                    <a:pt x="164" y="609"/>
                  </a:lnTo>
                  <a:lnTo>
                    <a:pt x="174" y="563"/>
                  </a:lnTo>
                  <a:lnTo>
                    <a:pt x="184" y="518"/>
                  </a:lnTo>
                  <a:lnTo>
                    <a:pt x="196" y="474"/>
                  </a:lnTo>
                  <a:lnTo>
                    <a:pt x="208" y="431"/>
                  </a:lnTo>
                  <a:lnTo>
                    <a:pt x="220" y="391"/>
                  </a:lnTo>
                  <a:lnTo>
                    <a:pt x="233" y="351"/>
                  </a:lnTo>
                  <a:lnTo>
                    <a:pt x="246" y="312"/>
                  </a:lnTo>
                  <a:lnTo>
                    <a:pt x="260" y="275"/>
                  </a:lnTo>
                  <a:lnTo>
                    <a:pt x="273" y="240"/>
                  </a:lnTo>
                  <a:lnTo>
                    <a:pt x="287" y="205"/>
                  </a:lnTo>
                  <a:lnTo>
                    <a:pt x="301" y="172"/>
                  </a:lnTo>
                  <a:lnTo>
                    <a:pt x="317" y="142"/>
                  </a:lnTo>
                  <a:lnTo>
                    <a:pt x="332" y="113"/>
                  </a:lnTo>
                  <a:lnTo>
                    <a:pt x="347" y="85"/>
                  </a:lnTo>
                  <a:lnTo>
                    <a:pt x="363" y="60"/>
                  </a:lnTo>
                  <a:lnTo>
                    <a:pt x="373" y="46"/>
                  </a:lnTo>
                  <a:lnTo>
                    <a:pt x="383" y="34"/>
                  </a:lnTo>
                  <a:lnTo>
                    <a:pt x="395" y="23"/>
                  </a:lnTo>
                  <a:lnTo>
                    <a:pt x="407" y="15"/>
                  </a:lnTo>
                  <a:lnTo>
                    <a:pt x="420" y="9"/>
                  </a:lnTo>
                  <a:lnTo>
                    <a:pt x="434" y="4"/>
                  </a:lnTo>
                  <a:lnTo>
                    <a:pt x="448" y="1"/>
                  </a:lnTo>
                  <a:lnTo>
                    <a:pt x="463" y="0"/>
                  </a:lnTo>
                  <a:lnTo>
                    <a:pt x="475" y="1"/>
                  </a:lnTo>
                  <a:lnTo>
                    <a:pt x="488" y="3"/>
                  </a:lnTo>
                  <a:lnTo>
                    <a:pt x="500" y="5"/>
                  </a:lnTo>
                  <a:lnTo>
                    <a:pt x="514" y="10"/>
                  </a:lnTo>
                  <a:lnTo>
                    <a:pt x="527" y="15"/>
                  </a:lnTo>
                  <a:lnTo>
                    <a:pt x="541" y="21"/>
                  </a:lnTo>
                  <a:lnTo>
                    <a:pt x="554" y="29"/>
                  </a:lnTo>
                  <a:lnTo>
                    <a:pt x="569" y="39"/>
                  </a:lnTo>
                  <a:lnTo>
                    <a:pt x="580" y="47"/>
                  </a:lnTo>
                  <a:lnTo>
                    <a:pt x="589" y="55"/>
                  </a:lnTo>
                  <a:lnTo>
                    <a:pt x="598" y="64"/>
                  </a:lnTo>
                  <a:lnTo>
                    <a:pt x="606" y="74"/>
                  </a:lnTo>
                  <a:lnTo>
                    <a:pt x="612" y="84"/>
                  </a:lnTo>
                  <a:lnTo>
                    <a:pt x="619" y="95"/>
                  </a:lnTo>
                  <a:lnTo>
                    <a:pt x="624" y="105"/>
                  </a:lnTo>
                  <a:lnTo>
                    <a:pt x="627" y="115"/>
                  </a:lnTo>
                  <a:lnTo>
                    <a:pt x="630" y="126"/>
                  </a:lnTo>
                  <a:lnTo>
                    <a:pt x="632" y="136"/>
                  </a:lnTo>
                  <a:lnTo>
                    <a:pt x="633" y="146"/>
                  </a:lnTo>
                  <a:lnTo>
                    <a:pt x="634" y="156"/>
                  </a:lnTo>
                  <a:lnTo>
                    <a:pt x="633" y="165"/>
                  </a:lnTo>
                  <a:lnTo>
                    <a:pt x="632" y="173"/>
                  </a:lnTo>
                  <a:lnTo>
                    <a:pt x="630" y="181"/>
                  </a:lnTo>
                  <a:lnTo>
                    <a:pt x="627" y="188"/>
                  </a:lnTo>
                  <a:lnTo>
                    <a:pt x="624" y="194"/>
                  </a:lnTo>
                  <a:lnTo>
                    <a:pt x="621" y="200"/>
                  </a:lnTo>
                  <a:lnTo>
                    <a:pt x="617" y="204"/>
                  </a:lnTo>
                  <a:lnTo>
                    <a:pt x="613" y="208"/>
                  </a:lnTo>
                  <a:lnTo>
                    <a:pt x="609" y="210"/>
                  </a:lnTo>
                  <a:lnTo>
                    <a:pt x="606" y="213"/>
                  </a:lnTo>
                  <a:lnTo>
                    <a:pt x="602" y="214"/>
                  </a:lnTo>
                  <a:lnTo>
                    <a:pt x="598" y="214"/>
                  </a:lnTo>
                  <a:lnTo>
                    <a:pt x="595" y="214"/>
                  </a:lnTo>
                  <a:lnTo>
                    <a:pt x="592" y="213"/>
                  </a:lnTo>
                  <a:lnTo>
                    <a:pt x="589" y="211"/>
                  </a:lnTo>
                  <a:lnTo>
                    <a:pt x="587" y="209"/>
                  </a:lnTo>
                  <a:lnTo>
                    <a:pt x="582" y="203"/>
                  </a:lnTo>
                  <a:lnTo>
                    <a:pt x="578" y="195"/>
                  </a:lnTo>
                  <a:lnTo>
                    <a:pt x="573" y="182"/>
                  </a:lnTo>
                  <a:lnTo>
                    <a:pt x="567" y="172"/>
                  </a:lnTo>
                  <a:lnTo>
                    <a:pt x="559" y="163"/>
                  </a:lnTo>
                  <a:lnTo>
                    <a:pt x="552" y="155"/>
                  </a:lnTo>
                  <a:lnTo>
                    <a:pt x="544" y="150"/>
                  </a:lnTo>
                  <a:lnTo>
                    <a:pt x="535" y="146"/>
                  </a:lnTo>
                  <a:lnTo>
                    <a:pt x="525" y="144"/>
                  </a:lnTo>
                  <a:lnTo>
                    <a:pt x="515" y="144"/>
                  </a:lnTo>
                  <a:lnTo>
                    <a:pt x="509" y="144"/>
                  </a:lnTo>
                  <a:lnTo>
                    <a:pt x="503" y="145"/>
                  </a:lnTo>
                  <a:lnTo>
                    <a:pt x="499" y="147"/>
                  </a:lnTo>
                  <a:lnTo>
                    <a:pt x="494" y="149"/>
                  </a:lnTo>
                  <a:lnTo>
                    <a:pt x="486" y="154"/>
                  </a:lnTo>
                  <a:lnTo>
                    <a:pt x="478" y="161"/>
                  </a:lnTo>
                  <a:lnTo>
                    <a:pt x="471" y="170"/>
                  </a:lnTo>
                  <a:lnTo>
                    <a:pt x="464" y="180"/>
                  </a:lnTo>
                  <a:lnTo>
                    <a:pt x="457" y="193"/>
                  </a:lnTo>
                  <a:lnTo>
                    <a:pt x="451" y="206"/>
                  </a:lnTo>
                  <a:lnTo>
                    <a:pt x="432" y="252"/>
                  </a:lnTo>
                  <a:lnTo>
                    <a:pt x="414" y="300"/>
                  </a:lnTo>
                  <a:lnTo>
                    <a:pt x="396" y="351"/>
                  </a:lnTo>
                  <a:lnTo>
                    <a:pt x="378" y="405"/>
                  </a:lnTo>
                  <a:lnTo>
                    <a:pt x="362" y="461"/>
                  </a:lnTo>
                  <a:lnTo>
                    <a:pt x="345" y="519"/>
                  </a:lnTo>
                  <a:lnTo>
                    <a:pt x="331" y="579"/>
                  </a:lnTo>
                  <a:lnTo>
                    <a:pt x="316" y="641"/>
                  </a:lnTo>
                  <a:lnTo>
                    <a:pt x="315" y="649"/>
                  </a:lnTo>
                  <a:lnTo>
                    <a:pt x="323" y="648"/>
                  </a:lnTo>
                  <a:lnTo>
                    <a:pt x="354" y="643"/>
                  </a:lnTo>
                  <a:lnTo>
                    <a:pt x="388" y="638"/>
                  </a:lnTo>
                  <a:lnTo>
                    <a:pt x="422" y="633"/>
                  </a:lnTo>
                  <a:lnTo>
                    <a:pt x="455" y="625"/>
                  </a:lnTo>
                  <a:lnTo>
                    <a:pt x="490" y="619"/>
                  </a:lnTo>
                  <a:lnTo>
                    <a:pt x="525" y="611"/>
                  </a:lnTo>
                  <a:lnTo>
                    <a:pt x="559" y="604"/>
                  </a:lnTo>
                  <a:lnTo>
                    <a:pt x="594" y="595"/>
                  </a:lnTo>
                  <a:lnTo>
                    <a:pt x="595" y="595"/>
                  </a:lnTo>
                  <a:lnTo>
                    <a:pt x="596" y="594"/>
                  </a:lnTo>
                  <a:lnTo>
                    <a:pt x="608" y="583"/>
                  </a:lnTo>
                  <a:lnTo>
                    <a:pt x="622" y="571"/>
                  </a:lnTo>
                  <a:lnTo>
                    <a:pt x="636" y="561"/>
                  </a:lnTo>
                  <a:lnTo>
                    <a:pt x="650" y="551"/>
                  </a:lnTo>
                  <a:lnTo>
                    <a:pt x="666" y="542"/>
                  </a:lnTo>
                  <a:lnTo>
                    <a:pt x="681" y="534"/>
                  </a:lnTo>
                  <a:lnTo>
                    <a:pt x="696" y="525"/>
                  </a:lnTo>
                  <a:lnTo>
                    <a:pt x="712" y="518"/>
                  </a:lnTo>
                  <a:lnTo>
                    <a:pt x="730" y="511"/>
                  </a:lnTo>
                  <a:lnTo>
                    <a:pt x="746" y="506"/>
                  </a:lnTo>
                  <a:lnTo>
                    <a:pt x="762" y="501"/>
                  </a:lnTo>
                  <a:lnTo>
                    <a:pt x="780" y="497"/>
                  </a:lnTo>
                  <a:lnTo>
                    <a:pt x="796" y="493"/>
                  </a:lnTo>
                  <a:lnTo>
                    <a:pt x="812" y="491"/>
                  </a:lnTo>
                  <a:lnTo>
                    <a:pt x="829" y="490"/>
                  </a:lnTo>
                  <a:lnTo>
                    <a:pt x="844" y="489"/>
                  </a:lnTo>
                  <a:lnTo>
                    <a:pt x="891" y="544"/>
                  </a:lnTo>
                  <a:lnTo>
                    <a:pt x="840" y="5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2" name="Freeform 48"/>
            <p:cNvSpPr>
              <a:spLocks/>
            </p:cNvSpPr>
            <p:nvPr userDrawn="1"/>
          </p:nvSpPr>
          <p:spPr bwMode="auto">
            <a:xfrm>
              <a:off x="6540" y="596"/>
              <a:ext cx="34" cy="32"/>
            </a:xfrm>
            <a:custGeom>
              <a:avLst/>
              <a:gdLst>
                <a:gd name="T0" fmla="*/ 255 w 405"/>
                <a:gd name="T1" fmla="*/ 101 h 383"/>
                <a:gd name="T2" fmla="*/ 269 w 405"/>
                <a:gd name="T3" fmla="*/ 105 h 383"/>
                <a:gd name="T4" fmla="*/ 281 w 405"/>
                <a:gd name="T5" fmla="*/ 113 h 383"/>
                <a:gd name="T6" fmla="*/ 289 w 405"/>
                <a:gd name="T7" fmla="*/ 122 h 383"/>
                <a:gd name="T8" fmla="*/ 293 w 405"/>
                <a:gd name="T9" fmla="*/ 132 h 383"/>
                <a:gd name="T10" fmla="*/ 294 w 405"/>
                <a:gd name="T11" fmla="*/ 143 h 383"/>
                <a:gd name="T12" fmla="*/ 290 w 405"/>
                <a:gd name="T13" fmla="*/ 159 h 383"/>
                <a:gd name="T14" fmla="*/ 277 w 405"/>
                <a:gd name="T15" fmla="*/ 177 h 383"/>
                <a:gd name="T16" fmla="*/ 254 w 405"/>
                <a:gd name="T17" fmla="*/ 199 h 383"/>
                <a:gd name="T18" fmla="*/ 221 w 405"/>
                <a:gd name="T19" fmla="*/ 224 h 383"/>
                <a:gd name="T20" fmla="*/ 182 w 405"/>
                <a:gd name="T21" fmla="*/ 249 h 383"/>
                <a:gd name="T22" fmla="*/ 136 w 405"/>
                <a:gd name="T23" fmla="*/ 275 h 383"/>
                <a:gd name="T24" fmla="*/ 99 w 405"/>
                <a:gd name="T25" fmla="*/ 294 h 383"/>
                <a:gd name="T26" fmla="*/ 95 w 405"/>
                <a:gd name="T27" fmla="*/ 383 h 383"/>
                <a:gd name="T28" fmla="*/ 141 w 405"/>
                <a:gd name="T29" fmla="*/ 362 h 383"/>
                <a:gd name="T30" fmla="*/ 223 w 405"/>
                <a:gd name="T31" fmla="*/ 322 h 383"/>
                <a:gd name="T32" fmla="*/ 279 w 405"/>
                <a:gd name="T33" fmla="*/ 289 h 383"/>
                <a:gd name="T34" fmla="*/ 312 w 405"/>
                <a:gd name="T35" fmla="*/ 268 h 383"/>
                <a:gd name="T36" fmla="*/ 341 w 405"/>
                <a:gd name="T37" fmla="*/ 244 h 383"/>
                <a:gd name="T38" fmla="*/ 367 w 405"/>
                <a:gd name="T39" fmla="*/ 221 h 383"/>
                <a:gd name="T40" fmla="*/ 384 w 405"/>
                <a:gd name="T41" fmla="*/ 200 h 383"/>
                <a:gd name="T42" fmla="*/ 394 w 405"/>
                <a:gd name="T43" fmla="*/ 183 h 383"/>
                <a:gd name="T44" fmla="*/ 401 w 405"/>
                <a:gd name="T45" fmla="*/ 167 h 383"/>
                <a:gd name="T46" fmla="*/ 404 w 405"/>
                <a:gd name="T47" fmla="*/ 150 h 383"/>
                <a:gd name="T48" fmla="*/ 405 w 405"/>
                <a:gd name="T49" fmla="*/ 129 h 383"/>
                <a:gd name="T50" fmla="*/ 400 w 405"/>
                <a:gd name="T51" fmla="*/ 103 h 383"/>
                <a:gd name="T52" fmla="*/ 390 w 405"/>
                <a:gd name="T53" fmla="*/ 83 h 383"/>
                <a:gd name="T54" fmla="*/ 378 w 405"/>
                <a:gd name="T55" fmla="*/ 65 h 383"/>
                <a:gd name="T56" fmla="*/ 363 w 405"/>
                <a:gd name="T57" fmla="*/ 48 h 383"/>
                <a:gd name="T58" fmla="*/ 344 w 405"/>
                <a:gd name="T59" fmla="*/ 34 h 383"/>
                <a:gd name="T60" fmla="*/ 324 w 405"/>
                <a:gd name="T61" fmla="*/ 22 h 383"/>
                <a:gd name="T62" fmla="*/ 302 w 405"/>
                <a:gd name="T63" fmla="*/ 12 h 383"/>
                <a:gd name="T64" fmla="*/ 281 w 405"/>
                <a:gd name="T65" fmla="*/ 4 h 383"/>
                <a:gd name="T66" fmla="*/ 259 w 405"/>
                <a:gd name="T67" fmla="*/ 1 h 383"/>
                <a:gd name="T68" fmla="*/ 198 w 405"/>
                <a:gd name="T69" fmla="*/ 59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383">
                  <a:moveTo>
                    <a:pt x="247" y="101"/>
                  </a:moveTo>
                  <a:lnTo>
                    <a:pt x="255" y="101"/>
                  </a:lnTo>
                  <a:lnTo>
                    <a:pt x="262" y="103"/>
                  </a:lnTo>
                  <a:lnTo>
                    <a:pt x="269" y="105"/>
                  </a:lnTo>
                  <a:lnTo>
                    <a:pt x="275" y="109"/>
                  </a:lnTo>
                  <a:lnTo>
                    <a:pt x="281" y="113"/>
                  </a:lnTo>
                  <a:lnTo>
                    <a:pt x="285" y="117"/>
                  </a:lnTo>
                  <a:lnTo>
                    <a:pt x="289" y="122"/>
                  </a:lnTo>
                  <a:lnTo>
                    <a:pt x="292" y="127"/>
                  </a:lnTo>
                  <a:lnTo>
                    <a:pt x="293" y="132"/>
                  </a:lnTo>
                  <a:lnTo>
                    <a:pt x="294" y="137"/>
                  </a:lnTo>
                  <a:lnTo>
                    <a:pt x="294" y="143"/>
                  </a:lnTo>
                  <a:lnTo>
                    <a:pt x="292" y="150"/>
                  </a:lnTo>
                  <a:lnTo>
                    <a:pt x="290" y="159"/>
                  </a:lnTo>
                  <a:lnTo>
                    <a:pt x="285" y="168"/>
                  </a:lnTo>
                  <a:lnTo>
                    <a:pt x="277" y="177"/>
                  </a:lnTo>
                  <a:lnTo>
                    <a:pt x="268" y="187"/>
                  </a:lnTo>
                  <a:lnTo>
                    <a:pt x="254" y="199"/>
                  </a:lnTo>
                  <a:lnTo>
                    <a:pt x="238" y="212"/>
                  </a:lnTo>
                  <a:lnTo>
                    <a:pt x="221" y="224"/>
                  </a:lnTo>
                  <a:lnTo>
                    <a:pt x="203" y="237"/>
                  </a:lnTo>
                  <a:lnTo>
                    <a:pt x="182" y="249"/>
                  </a:lnTo>
                  <a:lnTo>
                    <a:pt x="160" y="263"/>
                  </a:lnTo>
                  <a:lnTo>
                    <a:pt x="136" y="275"/>
                  </a:lnTo>
                  <a:lnTo>
                    <a:pt x="111" y="288"/>
                  </a:lnTo>
                  <a:lnTo>
                    <a:pt x="99" y="294"/>
                  </a:lnTo>
                  <a:lnTo>
                    <a:pt x="0" y="370"/>
                  </a:lnTo>
                  <a:lnTo>
                    <a:pt x="95" y="383"/>
                  </a:lnTo>
                  <a:lnTo>
                    <a:pt x="99" y="381"/>
                  </a:lnTo>
                  <a:lnTo>
                    <a:pt x="141" y="362"/>
                  </a:lnTo>
                  <a:lnTo>
                    <a:pt x="183" y="342"/>
                  </a:lnTo>
                  <a:lnTo>
                    <a:pt x="223" y="322"/>
                  </a:lnTo>
                  <a:lnTo>
                    <a:pt x="261" y="300"/>
                  </a:lnTo>
                  <a:lnTo>
                    <a:pt x="279" y="289"/>
                  </a:lnTo>
                  <a:lnTo>
                    <a:pt x="295" y="279"/>
                  </a:lnTo>
                  <a:lnTo>
                    <a:pt x="312" y="268"/>
                  </a:lnTo>
                  <a:lnTo>
                    <a:pt x="327" y="257"/>
                  </a:lnTo>
                  <a:lnTo>
                    <a:pt x="341" y="244"/>
                  </a:lnTo>
                  <a:lnTo>
                    <a:pt x="354" y="233"/>
                  </a:lnTo>
                  <a:lnTo>
                    <a:pt x="367" y="221"/>
                  </a:lnTo>
                  <a:lnTo>
                    <a:pt x="377" y="210"/>
                  </a:lnTo>
                  <a:lnTo>
                    <a:pt x="384" y="200"/>
                  </a:lnTo>
                  <a:lnTo>
                    <a:pt x="389" y="192"/>
                  </a:lnTo>
                  <a:lnTo>
                    <a:pt x="394" y="183"/>
                  </a:lnTo>
                  <a:lnTo>
                    <a:pt x="398" y="175"/>
                  </a:lnTo>
                  <a:lnTo>
                    <a:pt x="401" y="167"/>
                  </a:lnTo>
                  <a:lnTo>
                    <a:pt x="403" y="159"/>
                  </a:lnTo>
                  <a:lnTo>
                    <a:pt x="404" y="150"/>
                  </a:lnTo>
                  <a:lnTo>
                    <a:pt x="405" y="143"/>
                  </a:lnTo>
                  <a:lnTo>
                    <a:pt x="405" y="129"/>
                  </a:lnTo>
                  <a:lnTo>
                    <a:pt x="403" y="116"/>
                  </a:lnTo>
                  <a:lnTo>
                    <a:pt x="400" y="103"/>
                  </a:lnTo>
                  <a:lnTo>
                    <a:pt x="395" y="92"/>
                  </a:lnTo>
                  <a:lnTo>
                    <a:pt x="390" y="83"/>
                  </a:lnTo>
                  <a:lnTo>
                    <a:pt x="385" y="74"/>
                  </a:lnTo>
                  <a:lnTo>
                    <a:pt x="378" y="65"/>
                  </a:lnTo>
                  <a:lnTo>
                    <a:pt x="371" y="56"/>
                  </a:lnTo>
                  <a:lnTo>
                    <a:pt x="363" y="48"/>
                  </a:lnTo>
                  <a:lnTo>
                    <a:pt x="353" y="40"/>
                  </a:lnTo>
                  <a:lnTo>
                    <a:pt x="344" y="34"/>
                  </a:lnTo>
                  <a:lnTo>
                    <a:pt x="334" y="27"/>
                  </a:lnTo>
                  <a:lnTo>
                    <a:pt x="324" y="22"/>
                  </a:lnTo>
                  <a:lnTo>
                    <a:pt x="314" y="16"/>
                  </a:lnTo>
                  <a:lnTo>
                    <a:pt x="302" y="12"/>
                  </a:lnTo>
                  <a:lnTo>
                    <a:pt x="292" y="7"/>
                  </a:lnTo>
                  <a:lnTo>
                    <a:pt x="281" y="4"/>
                  </a:lnTo>
                  <a:lnTo>
                    <a:pt x="270" y="2"/>
                  </a:lnTo>
                  <a:lnTo>
                    <a:pt x="259" y="1"/>
                  </a:lnTo>
                  <a:lnTo>
                    <a:pt x="247" y="0"/>
                  </a:lnTo>
                  <a:lnTo>
                    <a:pt x="198" y="59"/>
                  </a:lnTo>
                  <a:lnTo>
                    <a:pt x="247"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3" name="Freeform 49"/>
            <p:cNvSpPr>
              <a:spLocks/>
            </p:cNvSpPr>
            <p:nvPr userDrawn="1"/>
          </p:nvSpPr>
          <p:spPr bwMode="auto">
            <a:xfrm>
              <a:off x="6473" y="596"/>
              <a:ext cx="191" cy="122"/>
            </a:xfrm>
            <a:custGeom>
              <a:avLst/>
              <a:gdLst>
                <a:gd name="T0" fmla="*/ 982 w 2289"/>
                <a:gd name="T1" fmla="*/ 130 h 1460"/>
                <a:gd name="T2" fmla="*/ 920 w 2289"/>
                <a:gd name="T3" fmla="*/ 214 h 1460"/>
                <a:gd name="T4" fmla="*/ 891 w 2289"/>
                <a:gd name="T5" fmla="*/ 387 h 1460"/>
                <a:gd name="T6" fmla="*/ 936 w 2289"/>
                <a:gd name="T7" fmla="*/ 481 h 1460"/>
                <a:gd name="T8" fmla="*/ 1034 w 2289"/>
                <a:gd name="T9" fmla="*/ 514 h 1460"/>
                <a:gd name="T10" fmla="*/ 1200 w 2289"/>
                <a:gd name="T11" fmla="*/ 464 h 1460"/>
                <a:gd name="T12" fmla="*/ 1394 w 2289"/>
                <a:gd name="T13" fmla="*/ 312 h 1460"/>
                <a:gd name="T14" fmla="*/ 1433 w 2289"/>
                <a:gd name="T15" fmla="*/ 157 h 1460"/>
                <a:gd name="T16" fmla="*/ 1486 w 2289"/>
                <a:gd name="T17" fmla="*/ 59 h 1460"/>
                <a:gd name="T18" fmla="*/ 1544 w 2289"/>
                <a:gd name="T19" fmla="*/ 51 h 1460"/>
                <a:gd name="T20" fmla="*/ 1625 w 2289"/>
                <a:gd name="T21" fmla="*/ 91 h 1460"/>
                <a:gd name="T22" fmla="*/ 1634 w 2289"/>
                <a:gd name="T23" fmla="*/ 139 h 1460"/>
                <a:gd name="T24" fmla="*/ 1565 w 2289"/>
                <a:gd name="T25" fmla="*/ 346 h 1460"/>
                <a:gd name="T26" fmla="*/ 1568 w 2289"/>
                <a:gd name="T27" fmla="*/ 436 h 1460"/>
                <a:gd name="T28" fmla="*/ 1616 w 2289"/>
                <a:gd name="T29" fmla="*/ 424 h 1460"/>
                <a:gd name="T30" fmla="*/ 1755 w 2289"/>
                <a:gd name="T31" fmla="*/ 283 h 1460"/>
                <a:gd name="T32" fmla="*/ 1888 w 2289"/>
                <a:gd name="T33" fmla="*/ 183 h 1460"/>
                <a:gd name="T34" fmla="*/ 1988 w 2289"/>
                <a:gd name="T35" fmla="*/ 199 h 1460"/>
                <a:gd name="T36" fmla="*/ 2063 w 2289"/>
                <a:gd name="T37" fmla="*/ 256 h 1460"/>
                <a:gd name="T38" fmla="*/ 2136 w 2289"/>
                <a:gd name="T39" fmla="*/ 408 h 1460"/>
                <a:gd name="T40" fmla="*/ 2229 w 2289"/>
                <a:gd name="T41" fmla="*/ 531 h 1460"/>
                <a:gd name="T42" fmla="*/ 2287 w 2289"/>
                <a:gd name="T43" fmla="*/ 580 h 1460"/>
                <a:gd name="T44" fmla="*/ 2259 w 2289"/>
                <a:gd name="T45" fmla="*/ 612 h 1460"/>
                <a:gd name="T46" fmla="*/ 2126 w 2289"/>
                <a:gd name="T47" fmla="*/ 583 h 1460"/>
                <a:gd name="T48" fmla="*/ 1973 w 2289"/>
                <a:gd name="T49" fmla="*/ 441 h 1460"/>
                <a:gd name="T50" fmla="*/ 1884 w 2289"/>
                <a:gd name="T51" fmla="*/ 335 h 1460"/>
                <a:gd name="T52" fmla="*/ 1759 w 2289"/>
                <a:gd name="T53" fmla="*/ 434 h 1460"/>
                <a:gd name="T54" fmla="*/ 1620 w 2289"/>
                <a:gd name="T55" fmla="*/ 580 h 1460"/>
                <a:gd name="T56" fmla="*/ 1534 w 2289"/>
                <a:gd name="T57" fmla="*/ 588 h 1460"/>
                <a:gd name="T58" fmla="*/ 1425 w 2289"/>
                <a:gd name="T59" fmla="*/ 523 h 1460"/>
                <a:gd name="T60" fmla="*/ 1351 w 2289"/>
                <a:gd name="T61" fmla="*/ 466 h 1460"/>
                <a:gd name="T62" fmla="*/ 1157 w 2289"/>
                <a:gd name="T63" fmla="*/ 584 h 1460"/>
                <a:gd name="T64" fmla="*/ 993 w 2289"/>
                <a:gd name="T65" fmla="*/ 613 h 1460"/>
                <a:gd name="T66" fmla="*/ 823 w 2289"/>
                <a:gd name="T67" fmla="*/ 555 h 1460"/>
                <a:gd name="T68" fmla="*/ 720 w 2289"/>
                <a:gd name="T69" fmla="*/ 457 h 1460"/>
                <a:gd name="T70" fmla="*/ 448 w 2289"/>
                <a:gd name="T71" fmla="*/ 594 h 1460"/>
                <a:gd name="T72" fmla="*/ 392 w 2289"/>
                <a:gd name="T73" fmla="*/ 862 h 1460"/>
                <a:gd name="T74" fmla="*/ 328 w 2289"/>
                <a:gd name="T75" fmla="*/ 1161 h 1460"/>
                <a:gd name="T76" fmla="*/ 215 w 2289"/>
                <a:gd name="T77" fmla="*/ 1376 h 1460"/>
                <a:gd name="T78" fmla="*/ 114 w 2289"/>
                <a:gd name="T79" fmla="*/ 1448 h 1460"/>
                <a:gd name="T80" fmla="*/ 0 w 2289"/>
                <a:gd name="T81" fmla="*/ 1423 h 1460"/>
                <a:gd name="T82" fmla="*/ 95 w 2289"/>
                <a:gd name="T83" fmla="*/ 1349 h 1460"/>
                <a:gd name="T84" fmla="*/ 163 w 2289"/>
                <a:gd name="T85" fmla="*/ 1228 h 1460"/>
                <a:gd name="T86" fmla="*/ 213 w 2289"/>
                <a:gd name="T87" fmla="*/ 1035 h 1460"/>
                <a:gd name="T88" fmla="*/ 240 w 2289"/>
                <a:gd name="T89" fmla="*/ 617 h 1460"/>
                <a:gd name="T90" fmla="*/ 195 w 2289"/>
                <a:gd name="T91" fmla="*/ 511 h 1460"/>
                <a:gd name="T92" fmla="*/ 92 w 2289"/>
                <a:gd name="T93" fmla="*/ 565 h 1460"/>
                <a:gd name="T94" fmla="*/ 143 w 2289"/>
                <a:gd name="T95" fmla="*/ 433 h 1460"/>
                <a:gd name="T96" fmla="*/ 254 w 2289"/>
                <a:gd name="T97" fmla="*/ 332 h 1460"/>
                <a:gd name="T98" fmla="*/ 297 w 2289"/>
                <a:gd name="T99" fmla="*/ 230 h 1460"/>
                <a:gd name="T100" fmla="*/ 267 w 2289"/>
                <a:gd name="T101" fmla="*/ 178 h 1460"/>
                <a:gd name="T102" fmla="*/ 261 w 2289"/>
                <a:gd name="T103" fmla="*/ 74 h 1460"/>
                <a:gd name="T104" fmla="*/ 335 w 2289"/>
                <a:gd name="T105" fmla="*/ 118 h 1460"/>
                <a:gd name="T106" fmla="*/ 398 w 2289"/>
                <a:gd name="T107" fmla="*/ 108 h 1460"/>
                <a:gd name="T108" fmla="*/ 489 w 2289"/>
                <a:gd name="T109" fmla="*/ 137 h 1460"/>
                <a:gd name="T110" fmla="*/ 505 w 2289"/>
                <a:gd name="T111" fmla="*/ 181 h 1460"/>
                <a:gd name="T112" fmla="*/ 456 w 2289"/>
                <a:gd name="T113" fmla="*/ 322 h 1460"/>
                <a:gd name="T114" fmla="*/ 427 w 2289"/>
                <a:gd name="T115" fmla="*/ 510 h 1460"/>
                <a:gd name="T116" fmla="*/ 690 w 2289"/>
                <a:gd name="T117" fmla="*/ 385 h 1460"/>
                <a:gd name="T118" fmla="*/ 720 w 2289"/>
                <a:gd name="T119" fmla="*/ 256 h 1460"/>
                <a:gd name="T120" fmla="*/ 812 w 2289"/>
                <a:gd name="T121" fmla="*/ 126 h 1460"/>
                <a:gd name="T122" fmla="*/ 957 w 2289"/>
                <a:gd name="T123" fmla="*/ 26 h 1460"/>
                <a:gd name="T124" fmla="*/ 1042 w 2289"/>
                <a:gd name="T125" fmla="*/ 101 h 1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89" h="1460">
                  <a:moveTo>
                    <a:pt x="1042" y="101"/>
                  </a:moveTo>
                  <a:lnTo>
                    <a:pt x="1034" y="101"/>
                  </a:lnTo>
                  <a:lnTo>
                    <a:pt x="1027" y="103"/>
                  </a:lnTo>
                  <a:lnTo>
                    <a:pt x="1020" y="105"/>
                  </a:lnTo>
                  <a:lnTo>
                    <a:pt x="1013" y="109"/>
                  </a:lnTo>
                  <a:lnTo>
                    <a:pt x="1003" y="116"/>
                  </a:lnTo>
                  <a:lnTo>
                    <a:pt x="992" y="122"/>
                  </a:lnTo>
                  <a:lnTo>
                    <a:pt x="982" y="130"/>
                  </a:lnTo>
                  <a:lnTo>
                    <a:pt x="973" y="138"/>
                  </a:lnTo>
                  <a:lnTo>
                    <a:pt x="964" y="147"/>
                  </a:lnTo>
                  <a:lnTo>
                    <a:pt x="956" y="158"/>
                  </a:lnTo>
                  <a:lnTo>
                    <a:pt x="948" y="168"/>
                  </a:lnTo>
                  <a:lnTo>
                    <a:pt x="939" y="178"/>
                  </a:lnTo>
                  <a:lnTo>
                    <a:pt x="932" y="189"/>
                  </a:lnTo>
                  <a:lnTo>
                    <a:pt x="926" y="201"/>
                  </a:lnTo>
                  <a:lnTo>
                    <a:pt x="920" y="214"/>
                  </a:lnTo>
                  <a:lnTo>
                    <a:pt x="914" y="226"/>
                  </a:lnTo>
                  <a:lnTo>
                    <a:pt x="909" y="239"/>
                  </a:lnTo>
                  <a:lnTo>
                    <a:pt x="905" y="253"/>
                  </a:lnTo>
                  <a:lnTo>
                    <a:pt x="901" y="268"/>
                  </a:lnTo>
                  <a:lnTo>
                    <a:pt x="898" y="282"/>
                  </a:lnTo>
                  <a:lnTo>
                    <a:pt x="894" y="294"/>
                  </a:lnTo>
                  <a:lnTo>
                    <a:pt x="890" y="383"/>
                  </a:lnTo>
                  <a:lnTo>
                    <a:pt x="891" y="387"/>
                  </a:lnTo>
                  <a:lnTo>
                    <a:pt x="893" y="401"/>
                  </a:lnTo>
                  <a:lnTo>
                    <a:pt x="898" y="416"/>
                  </a:lnTo>
                  <a:lnTo>
                    <a:pt x="902" y="429"/>
                  </a:lnTo>
                  <a:lnTo>
                    <a:pt x="907" y="441"/>
                  </a:lnTo>
                  <a:lnTo>
                    <a:pt x="913" y="453"/>
                  </a:lnTo>
                  <a:lnTo>
                    <a:pt x="920" y="463"/>
                  </a:lnTo>
                  <a:lnTo>
                    <a:pt x="928" y="472"/>
                  </a:lnTo>
                  <a:lnTo>
                    <a:pt x="936" y="481"/>
                  </a:lnTo>
                  <a:lnTo>
                    <a:pt x="947" y="488"/>
                  </a:lnTo>
                  <a:lnTo>
                    <a:pt x="957" y="495"/>
                  </a:lnTo>
                  <a:lnTo>
                    <a:pt x="968" y="500"/>
                  </a:lnTo>
                  <a:lnTo>
                    <a:pt x="979" y="506"/>
                  </a:lnTo>
                  <a:lnTo>
                    <a:pt x="992" y="510"/>
                  </a:lnTo>
                  <a:lnTo>
                    <a:pt x="1006" y="512"/>
                  </a:lnTo>
                  <a:lnTo>
                    <a:pt x="1019" y="514"/>
                  </a:lnTo>
                  <a:lnTo>
                    <a:pt x="1034" y="514"/>
                  </a:lnTo>
                  <a:lnTo>
                    <a:pt x="1054" y="513"/>
                  </a:lnTo>
                  <a:lnTo>
                    <a:pt x="1073" y="511"/>
                  </a:lnTo>
                  <a:lnTo>
                    <a:pt x="1093" y="507"/>
                  </a:lnTo>
                  <a:lnTo>
                    <a:pt x="1114" y="501"/>
                  </a:lnTo>
                  <a:lnTo>
                    <a:pt x="1135" y="494"/>
                  </a:lnTo>
                  <a:lnTo>
                    <a:pt x="1157" y="485"/>
                  </a:lnTo>
                  <a:lnTo>
                    <a:pt x="1178" y="475"/>
                  </a:lnTo>
                  <a:lnTo>
                    <a:pt x="1200" y="464"/>
                  </a:lnTo>
                  <a:lnTo>
                    <a:pt x="1224" y="449"/>
                  </a:lnTo>
                  <a:lnTo>
                    <a:pt x="1246" y="435"/>
                  </a:lnTo>
                  <a:lnTo>
                    <a:pt x="1271" y="418"/>
                  </a:lnTo>
                  <a:lnTo>
                    <a:pt x="1294" y="400"/>
                  </a:lnTo>
                  <a:lnTo>
                    <a:pt x="1319" y="380"/>
                  </a:lnTo>
                  <a:lnTo>
                    <a:pt x="1343" y="359"/>
                  </a:lnTo>
                  <a:lnTo>
                    <a:pt x="1369" y="336"/>
                  </a:lnTo>
                  <a:lnTo>
                    <a:pt x="1394" y="312"/>
                  </a:lnTo>
                  <a:lnTo>
                    <a:pt x="1395" y="311"/>
                  </a:lnTo>
                  <a:lnTo>
                    <a:pt x="1396" y="309"/>
                  </a:lnTo>
                  <a:lnTo>
                    <a:pt x="1401" y="279"/>
                  </a:lnTo>
                  <a:lnTo>
                    <a:pt x="1407" y="252"/>
                  </a:lnTo>
                  <a:lnTo>
                    <a:pt x="1413" y="227"/>
                  </a:lnTo>
                  <a:lnTo>
                    <a:pt x="1419" y="203"/>
                  </a:lnTo>
                  <a:lnTo>
                    <a:pt x="1425" y="180"/>
                  </a:lnTo>
                  <a:lnTo>
                    <a:pt x="1433" y="157"/>
                  </a:lnTo>
                  <a:lnTo>
                    <a:pt x="1441" y="133"/>
                  </a:lnTo>
                  <a:lnTo>
                    <a:pt x="1450" y="110"/>
                  </a:lnTo>
                  <a:lnTo>
                    <a:pt x="1457" y="96"/>
                  </a:lnTo>
                  <a:lnTo>
                    <a:pt x="1463" y="84"/>
                  </a:lnTo>
                  <a:lnTo>
                    <a:pt x="1470" y="74"/>
                  </a:lnTo>
                  <a:lnTo>
                    <a:pt x="1477" y="65"/>
                  </a:lnTo>
                  <a:lnTo>
                    <a:pt x="1482" y="62"/>
                  </a:lnTo>
                  <a:lnTo>
                    <a:pt x="1486" y="59"/>
                  </a:lnTo>
                  <a:lnTo>
                    <a:pt x="1491" y="55"/>
                  </a:lnTo>
                  <a:lnTo>
                    <a:pt x="1496" y="52"/>
                  </a:lnTo>
                  <a:lnTo>
                    <a:pt x="1501" y="51"/>
                  </a:lnTo>
                  <a:lnTo>
                    <a:pt x="1508" y="49"/>
                  </a:lnTo>
                  <a:lnTo>
                    <a:pt x="1515" y="48"/>
                  </a:lnTo>
                  <a:lnTo>
                    <a:pt x="1521" y="48"/>
                  </a:lnTo>
                  <a:lnTo>
                    <a:pt x="1532" y="49"/>
                  </a:lnTo>
                  <a:lnTo>
                    <a:pt x="1544" y="51"/>
                  </a:lnTo>
                  <a:lnTo>
                    <a:pt x="1557" y="54"/>
                  </a:lnTo>
                  <a:lnTo>
                    <a:pt x="1573" y="59"/>
                  </a:lnTo>
                  <a:lnTo>
                    <a:pt x="1584" y="64"/>
                  </a:lnTo>
                  <a:lnTo>
                    <a:pt x="1594" y="68"/>
                  </a:lnTo>
                  <a:lnTo>
                    <a:pt x="1603" y="73"/>
                  </a:lnTo>
                  <a:lnTo>
                    <a:pt x="1612" y="79"/>
                  </a:lnTo>
                  <a:lnTo>
                    <a:pt x="1619" y="85"/>
                  </a:lnTo>
                  <a:lnTo>
                    <a:pt x="1625" y="91"/>
                  </a:lnTo>
                  <a:lnTo>
                    <a:pt x="1629" y="97"/>
                  </a:lnTo>
                  <a:lnTo>
                    <a:pt x="1633" y="104"/>
                  </a:lnTo>
                  <a:lnTo>
                    <a:pt x="1635" y="110"/>
                  </a:lnTo>
                  <a:lnTo>
                    <a:pt x="1636" y="116"/>
                  </a:lnTo>
                  <a:lnTo>
                    <a:pt x="1636" y="121"/>
                  </a:lnTo>
                  <a:lnTo>
                    <a:pt x="1636" y="127"/>
                  </a:lnTo>
                  <a:lnTo>
                    <a:pt x="1636" y="133"/>
                  </a:lnTo>
                  <a:lnTo>
                    <a:pt x="1634" y="139"/>
                  </a:lnTo>
                  <a:lnTo>
                    <a:pt x="1632" y="145"/>
                  </a:lnTo>
                  <a:lnTo>
                    <a:pt x="1630" y="151"/>
                  </a:lnTo>
                  <a:lnTo>
                    <a:pt x="1614" y="187"/>
                  </a:lnTo>
                  <a:lnTo>
                    <a:pt x="1599" y="222"/>
                  </a:lnTo>
                  <a:lnTo>
                    <a:pt x="1588" y="254"/>
                  </a:lnTo>
                  <a:lnTo>
                    <a:pt x="1579" y="286"/>
                  </a:lnTo>
                  <a:lnTo>
                    <a:pt x="1571" y="317"/>
                  </a:lnTo>
                  <a:lnTo>
                    <a:pt x="1565" y="346"/>
                  </a:lnTo>
                  <a:lnTo>
                    <a:pt x="1562" y="376"/>
                  </a:lnTo>
                  <a:lnTo>
                    <a:pt x="1560" y="406"/>
                  </a:lnTo>
                  <a:lnTo>
                    <a:pt x="1560" y="414"/>
                  </a:lnTo>
                  <a:lnTo>
                    <a:pt x="1561" y="422"/>
                  </a:lnTo>
                  <a:lnTo>
                    <a:pt x="1562" y="426"/>
                  </a:lnTo>
                  <a:lnTo>
                    <a:pt x="1563" y="430"/>
                  </a:lnTo>
                  <a:lnTo>
                    <a:pt x="1565" y="433"/>
                  </a:lnTo>
                  <a:lnTo>
                    <a:pt x="1568" y="436"/>
                  </a:lnTo>
                  <a:lnTo>
                    <a:pt x="1572" y="439"/>
                  </a:lnTo>
                  <a:lnTo>
                    <a:pt x="1576" y="441"/>
                  </a:lnTo>
                  <a:lnTo>
                    <a:pt x="1581" y="442"/>
                  </a:lnTo>
                  <a:lnTo>
                    <a:pt x="1587" y="441"/>
                  </a:lnTo>
                  <a:lnTo>
                    <a:pt x="1593" y="439"/>
                  </a:lnTo>
                  <a:lnTo>
                    <a:pt x="1600" y="435"/>
                  </a:lnTo>
                  <a:lnTo>
                    <a:pt x="1607" y="430"/>
                  </a:lnTo>
                  <a:lnTo>
                    <a:pt x="1616" y="424"/>
                  </a:lnTo>
                  <a:lnTo>
                    <a:pt x="1626" y="414"/>
                  </a:lnTo>
                  <a:lnTo>
                    <a:pt x="1639" y="401"/>
                  </a:lnTo>
                  <a:lnTo>
                    <a:pt x="1653" y="386"/>
                  </a:lnTo>
                  <a:lnTo>
                    <a:pt x="1670" y="369"/>
                  </a:lnTo>
                  <a:lnTo>
                    <a:pt x="1690" y="348"/>
                  </a:lnTo>
                  <a:lnTo>
                    <a:pt x="1710" y="327"/>
                  </a:lnTo>
                  <a:lnTo>
                    <a:pt x="1733" y="306"/>
                  </a:lnTo>
                  <a:lnTo>
                    <a:pt x="1755" y="283"/>
                  </a:lnTo>
                  <a:lnTo>
                    <a:pt x="1778" y="262"/>
                  </a:lnTo>
                  <a:lnTo>
                    <a:pt x="1801" y="242"/>
                  </a:lnTo>
                  <a:lnTo>
                    <a:pt x="1824" y="224"/>
                  </a:lnTo>
                  <a:lnTo>
                    <a:pt x="1845" y="208"/>
                  </a:lnTo>
                  <a:lnTo>
                    <a:pt x="1850" y="204"/>
                  </a:lnTo>
                  <a:lnTo>
                    <a:pt x="1865" y="195"/>
                  </a:lnTo>
                  <a:lnTo>
                    <a:pt x="1880" y="187"/>
                  </a:lnTo>
                  <a:lnTo>
                    <a:pt x="1888" y="183"/>
                  </a:lnTo>
                  <a:lnTo>
                    <a:pt x="1897" y="181"/>
                  </a:lnTo>
                  <a:lnTo>
                    <a:pt x="1906" y="179"/>
                  </a:lnTo>
                  <a:lnTo>
                    <a:pt x="1917" y="178"/>
                  </a:lnTo>
                  <a:lnTo>
                    <a:pt x="1927" y="179"/>
                  </a:lnTo>
                  <a:lnTo>
                    <a:pt x="1937" y="181"/>
                  </a:lnTo>
                  <a:lnTo>
                    <a:pt x="1948" y="183"/>
                  </a:lnTo>
                  <a:lnTo>
                    <a:pt x="1959" y="187"/>
                  </a:lnTo>
                  <a:lnTo>
                    <a:pt x="1988" y="199"/>
                  </a:lnTo>
                  <a:lnTo>
                    <a:pt x="2011" y="212"/>
                  </a:lnTo>
                  <a:lnTo>
                    <a:pt x="2022" y="218"/>
                  </a:lnTo>
                  <a:lnTo>
                    <a:pt x="2030" y="224"/>
                  </a:lnTo>
                  <a:lnTo>
                    <a:pt x="2039" y="230"/>
                  </a:lnTo>
                  <a:lnTo>
                    <a:pt x="2046" y="236"/>
                  </a:lnTo>
                  <a:lnTo>
                    <a:pt x="2052" y="242"/>
                  </a:lnTo>
                  <a:lnTo>
                    <a:pt x="2058" y="249"/>
                  </a:lnTo>
                  <a:lnTo>
                    <a:pt x="2063" y="256"/>
                  </a:lnTo>
                  <a:lnTo>
                    <a:pt x="2069" y="263"/>
                  </a:lnTo>
                  <a:lnTo>
                    <a:pt x="2077" y="278"/>
                  </a:lnTo>
                  <a:lnTo>
                    <a:pt x="2084" y="294"/>
                  </a:lnTo>
                  <a:lnTo>
                    <a:pt x="2094" y="320"/>
                  </a:lnTo>
                  <a:lnTo>
                    <a:pt x="2104" y="343"/>
                  </a:lnTo>
                  <a:lnTo>
                    <a:pt x="2115" y="366"/>
                  </a:lnTo>
                  <a:lnTo>
                    <a:pt x="2126" y="387"/>
                  </a:lnTo>
                  <a:lnTo>
                    <a:pt x="2136" y="408"/>
                  </a:lnTo>
                  <a:lnTo>
                    <a:pt x="2147" y="427"/>
                  </a:lnTo>
                  <a:lnTo>
                    <a:pt x="2158" y="444"/>
                  </a:lnTo>
                  <a:lnTo>
                    <a:pt x="2169" y="462"/>
                  </a:lnTo>
                  <a:lnTo>
                    <a:pt x="2181" y="478"/>
                  </a:lnTo>
                  <a:lnTo>
                    <a:pt x="2192" y="492"/>
                  </a:lnTo>
                  <a:lnTo>
                    <a:pt x="2204" y="507"/>
                  </a:lnTo>
                  <a:lnTo>
                    <a:pt x="2216" y="519"/>
                  </a:lnTo>
                  <a:lnTo>
                    <a:pt x="2229" y="531"/>
                  </a:lnTo>
                  <a:lnTo>
                    <a:pt x="2241" y="541"/>
                  </a:lnTo>
                  <a:lnTo>
                    <a:pt x="2253" y="552"/>
                  </a:lnTo>
                  <a:lnTo>
                    <a:pt x="2266" y="560"/>
                  </a:lnTo>
                  <a:lnTo>
                    <a:pt x="2273" y="564"/>
                  </a:lnTo>
                  <a:lnTo>
                    <a:pt x="2278" y="568"/>
                  </a:lnTo>
                  <a:lnTo>
                    <a:pt x="2282" y="572"/>
                  </a:lnTo>
                  <a:lnTo>
                    <a:pt x="2285" y="576"/>
                  </a:lnTo>
                  <a:lnTo>
                    <a:pt x="2287" y="580"/>
                  </a:lnTo>
                  <a:lnTo>
                    <a:pt x="2289" y="584"/>
                  </a:lnTo>
                  <a:lnTo>
                    <a:pt x="2289" y="588"/>
                  </a:lnTo>
                  <a:lnTo>
                    <a:pt x="2289" y="592"/>
                  </a:lnTo>
                  <a:lnTo>
                    <a:pt x="2286" y="597"/>
                  </a:lnTo>
                  <a:lnTo>
                    <a:pt x="2282" y="602"/>
                  </a:lnTo>
                  <a:lnTo>
                    <a:pt x="2276" y="606"/>
                  </a:lnTo>
                  <a:lnTo>
                    <a:pt x="2267" y="609"/>
                  </a:lnTo>
                  <a:lnTo>
                    <a:pt x="2259" y="612"/>
                  </a:lnTo>
                  <a:lnTo>
                    <a:pt x="2249" y="613"/>
                  </a:lnTo>
                  <a:lnTo>
                    <a:pt x="2238" y="614"/>
                  </a:lnTo>
                  <a:lnTo>
                    <a:pt x="2226" y="614"/>
                  </a:lnTo>
                  <a:lnTo>
                    <a:pt x="2205" y="611"/>
                  </a:lnTo>
                  <a:lnTo>
                    <a:pt x="2186" y="607"/>
                  </a:lnTo>
                  <a:lnTo>
                    <a:pt x="2165" y="601"/>
                  </a:lnTo>
                  <a:lnTo>
                    <a:pt x="2145" y="592"/>
                  </a:lnTo>
                  <a:lnTo>
                    <a:pt x="2126" y="583"/>
                  </a:lnTo>
                  <a:lnTo>
                    <a:pt x="2106" y="571"/>
                  </a:lnTo>
                  <a:lnTo>
                    <a:pt x="2086" y="558"/>
                  </a:lnTo>
                  <a:lnTo>
                    <a:pt x="2066" y="543"/>
                  </a:lnTo>
                  <a:lnTo>
                    <a:pt x="2047" y="526"/>
                  </a:lnTo>
                  <a:lnTo>
                    <a:pt x="2029" y="508"/>
                  </a:lnTo>
                  <a:lnTo>
                    <a:pt x="2009" y="487"/>
                  </a:lnTo>
                  <a:lnTo>
                    <a:pt x="1991" y="465"/>
                  </a:lnTo>
                  <a:lnTo>
                    <a:pt x="1973" y="441"/>
                  </a:lnTo>
                  <a:lnTo>
                    <a:pt x="1954" y="416"/>
                  </a:lnTo>
                  <a:lnTo>
                    <a:pt x="1937" y="388"/>
                  </a:lnTo>
                  <a:lnTo>
                    <a:pt x="1920" y="360"/>
                  </a:lnTo>
                  <a:lnTo>
                    <a:pt x="1913" y="351"/>
                  </a:lnTo>
                  <a:lnTo>
                    <a:pt x="1906" y="344"/>
                  </a:lnTo>
                  <a:lnTo>
                    <a:pt x="1899" y="339"/>
                  </a:lnTo>
                  <a:lnTo>
                    <a:pt x="1892" y="336"/>
                  </a:lnTo>
                  <a:lnTo>
                    <a:pt x="1884" y="335"/>
                  </a:lnTo>
                  <a:lnTo>
                    <a:pt x="1875" y="335"/>
                  </a:lnTo>
                  <a:lnTo>
                    <a:pt x="1867" y="338"/>
                  </a:lnTo>
                  <a:lnTo>
                    <a:pt x="1857" y="343"/>
                  </a:lnTo>
                  <a:lnTo>
                    <a:pt x="1838" y="358"/>
                  </a:lnTo>
                  <a:lnTo>
                    <a:pt x="1821" y="372"/>
                  </a:lnTo>
                  <a:lnTo>
                    <a:pt x="1804" y="387"/>
                  </a:lnTo>
                  <a:lnTo>
                    <a:pt x="1789" y="402"/>
                  </a:lnTo>
                  <a:lnTo>
                    <a:pt x="1759" y="434"/>
                  </a:lnTo>
                  <a:lnTo>
                    <a:pt x="1730" y="468"/>
                  </a:lnTo>
                  <a:lnTo>
                    <a:pt x="1712" y="488"/>
                  </a:lnTo>
                  <a:lnTo>
                    <a:pt x="1692" y="511"/>
                  </a:lnTo>
                  <a:lnTo>
                    <a:pt x="1671" y="535"/>
                  </a:lnTo>
                  <a:lnTo>
                    <a:pt x="1647" y="560"/>
                  </a:lnTo>
                  <a:lnTo>
                    <a:pt x="1638" y="568"/>
                  </a:lnTo>
                  <a:lnTo>
                    <a:pt x="1629" y="574"/>
                  </a:lnTo>
                  <a:lnTo>
                    <a:pt x="1620" y="580"/>
                  </a:lnTo>
                  <a:lnTo>
                    <a:pt x="1611" y="585"/>
                  </a:lnTo>
                  <a:lnTo>
                    <a:pt x="1600" y="588"/>
                  </a:lnTo>
                  <a:lnTo>
                    <a:pt x="1590" y="591"/>
                  </a:lnTo>
                  <a:lnTo>
                    <a:pt x="1580" y="592"/>
                  </a:lnTo>
                  <a:lnTo>
                    <a:pt x="1569" y="593"/>
                  </a:lnTo>
                  <a:lnTo>
                    <a:pt x="1557" y="592"/>
                  </a:lnTo>
                  <a:lnTo>
                    <a:pt x="1545" y="590"/>
                  </a:lnTo>
                  <a:lnTo>
                    <a:pt x="1534" y="588"/>
                  </a:lnTo>
                  <a:lnTo>
                    <a:pt x="1522" y="584"/>
                  </a:lnTo>
                  <a:lnTo>
                    <a:pt x="1509" y="579"/>
                  </a:lnTo>
                  <a:lnTo>
                    <a:pt x="1495" y="573"/>
                  </a:lnTo>
                  <a:lnTo>
                    <a:pt x="1482" y="566"/>
                  </a:lnTo>
                  <a:lnTo>
                    <a:pt x="1469" y="558"/>
                  </a:lnTo>
                  <a:lnTo>
                    <a:pt x="1452" y="546"/>
                  </a:lnTo>
                  <a:lnTo>
                    <a:pt x="1438" y="535"/>
                  </a:lnTo>
                  <a:lnTo>
                    <a:pt x="1425" y="523"/>
                  </a:lnTo>
                  <a:lnTo>
                    <a:pt x="1414" y="510"/>
                  </a:lnTo>
                  <a:lnTo>
                    <a:pt x="1404" y="495"/>
                  </a:lnTo>
                  <a:lnTo>
                    <a:pt x="1397" y="480"/>
                  </a:lnTo>
                  <a:lnTo>
                    <a:pt x="1391" y="464"/>
                  </a:lnTo>
                  <a:lnTo>
                    <a:pt x="1387" y="446"/>
                  </a:lnTo>
                  <a:lnTo>
                    <a:pt x="1385" y="437"/>
                  </a:lnTo>
                  <a:lnTo>
                    <a:pt x="1378" y="443"/>
                  </a:lnTo>
                  <a:lnTo>
                    <a:pt x="1351" y="466"/>
                  </a:lnTo>
                  <a:lnTo>
                    <a:pt x="1319" y="491"/>
                  </a:lnTo>
                  <a:lnTo>
                    <a:pt x="1299" y="506"/>
                  </a:lnTo>
                  <a:lnTo>
                    <a:pt x="1279" y="520"/>
                  </a:lnTo>
                  <a:lnTo>
                    <a:pt x="1257" y="534"/>
                  </a:lnTo>
                  <a:lnTo>
                    <a:pt x="1233" y="547"/>
                  </a:lnTo>
                  <a:lnTo>
                    <a:pt x="1209" y="561"/>
                  </a:lnTo>
                  <a:lnTo>
                    <a:pt x="1183" y="573"/>
                  </a:lnTo>
                  <a:lnTo>
                    <a:pt x="1157" y="584"/>
                  </a:lnTo>
                  <a:lnTo>
                    <a:pt x="1130" y="594"/>
                  </a:lnTo>
                  <a:lnTo>
                    <a:pt x="1103" y="603"/>
                  </a:lnTo>
                  <a:lnTo>
                    <a:pt x="1074" y="609"/>
                  </a:lnTo>
                  <a:lnTo>
                    <a:pt x="1060" y="611"/>
                  </a:lnTo>
                  <a:lnTo>
                    <a:pt x="1045" y="613"/>
                  </a:lnTo>
                  <a:lnTo>
                    <a:pt x="1031" y="613"/>
                  </a:lnTo>
                  <a:lnTo>
                    <a:pt x="1017" y="614"/>
                  </a:lnTo>
                  <a:lnTo>
                    <a:pt x="993" y="613"/>
                  </a:lnTo>
                  <a:lnTo>
                    <a:pt x="970" y="610"/>
                  </a:lnTo>
                  <a:lnTo>
                    <a:pt x="948" y="606"/>
                  </a:lnTo>
                  <a:lnTo>
                    <a:pt x="925" y="601"/>
                  </a:lnTo>
                  <a:lnTo>
                    <a:pt x="904" y="593"/>
                  </a:lnTo>
                  <a:lnTo>
                    <a:pt x="882" y="585"/>
                  </a:lnTo>
                  <a:lnTo>
                    <a:pt x="862" y="576"/>
                  </a:lnTo>
                  <a:lnTo>
                    <a:pt x="842" y="566"/>
                  </a:lnTo>
                  <a:lnTo>
                    <a:pt x="823" y="555"/>
                  </a:lnTo>
                  <a:lnTo>
                    <a:pt x="806" y="542"/>
                  </a:lnTo>
                  <a:lnTo>
                    <a:pt x="788" y="530"/>
                  </a:lnTo>
                  <a:lnTo>
                    <a:pt x="773" y="517"/>
                  </a:lnTo>
                  <a:lnTo>
                    <a:pt x="759" y="503"/>
                  </a:lnTo>
                  <a:lnTo>
                    <a:pt x="746" y="489"/>
                  </a:lnTo>
                  <a:lnTo>
                    <a:pt x="733" y="475"/>
                  </a:lnTo>
                  <a:lnTo>
                    <a:pt x="723" y="461"/>
                  </a:lnTo>
                  <a:lnTo>
                    <a:pt x="720" y="457"/>
                  </a:lnTo>
                  <a:lnTo>
                    <a:pt x="716" y="459"/>
                  </a:lnTo>
                  <a:lnTo>
                    <a:pt x="673" y="477"/>
                  </a:lnTo>
                  <a:lnTo>
                    <a:pt x="632" y="496"/>
                  </a:lnTo>
                  <a:lnTo>
                    <a:pt x="593" y="516"/>
                  </a:lnTo>
                  <a:lnTo>
                    <a:pt x="555" y="535"/>
                  </a:lnTo>
                  <a:lnTo>
                    <a:pt x="517" y="556"/>
                  </a:lnTo>
                  <a:lnTo>
                    <a:pt x="481" y="575"/>
                  </a:lnTo>
                  <a:lnTo>
                    <a:pt x="448" y="594"/>
                  </a:lnTo>
                  <a:lnTo>
                    <a:pt x="414" y="615"/>
                  </a:lnTo>
                  <a:lnTo>
                    <a:pt x="412" y="616"/>
                  </a:lnTo>
                  <a:lnTo>
                    <a:pt x="412" y="619"/>
                  </a:lnTo>
                  <a:lnTo>
                    <a:pt x="408" y="683"/>
                  </a:lnTo>
                  <a:lnTo>
                    <a:pt x="404" y="752"/>
                  </a:lnTo>
                  <a:lnTo>
                    <a:pt x="401" y="787"/>
                  </a:lnTo>
                  <a:lnTo>
                    <a:pt x="397" y="824"/>
                  </a:lnTo>
                  <a:lnTo>
                    <a:pt x="392" y="862"/>
                  </a:lnTo>
                  <a:lnTo>
                    <a:pt x="387" y="900"/>
                  </a:lnTo>
                  <a:lnTo>
                    <a:pt x="381" y="937"/>
                  </a:lnTo>
                  <a:lnTo>
                    <a:pt x="374" y="975"/>
                  </a:lnTo>
                  <a:lnTo>
                    <a:pt x="367" y="1013"/>
                  </a:lnTo>
                  <a:lnTo>
                    <a:pt x="359" y="1051"/>
                  </a:lnTo>
                  <a:lnTo>
                    <a:pt x="350" y="1088"/>
                  </a:lnTo>
                  <a:lnTo>
                    <a:pt x="340" y="1125"/>
                  </a:lnTo>
                  <a:lnTo>
                    <a:pt x="328" y="1161"/>
                  </a:lnTo>
                  <a:lnTo>
                    <a:pt x="316" y="1196"/>
                  </a:lnTo>
                  <a:lnTo>
                    <a:pt x="304" y="1227"/>
                  </a:lnTo>
                  <a:lnTo>
                    <a:pt x="291" y="1257"/>
                  </a:lnTo>
                  <a:lnTo>
                    <a:pt x="276" y="1285"/>
                  </a:lnTo>
                  <a:lnTo>
                    <a:pt x="262" y="1311"/>
                  </a:lnTo>
                  <a:lnTo>
                    <a:pt x="247" y="1334"/>
                  </a:lnTo>
                  <a:lnTo>
                    <a:pt x="231" y="1357"/>
                  </a:lnTo>
                  <a:lnTo>
                    <a:pt x="215" y="1376"/>
                  </a:lnTo>
                  <a:lnTo>
                    <a:pt x="199" y="1394"/>
                  </a:lnTo>
                  <a:lnTo>
                    <a:pt x="180" y="1409"/>
                  </a:lnTo>
                  <a:lnTo>
                    <a:pt x="163" y="1423"/>
                  </a:lnTo>
                  <a:lnTo>
                    <a:pt x="153" y="1429"/>
                  </a:lnTo>
                  <a:lnTo>
                    <a:pt x="144" y="1434"/>
                  </a:lnTo>
                  <a:lnTo>
                    <a:pt x="135" y="1439"/>
                  </a:lnTo>
                  <a:lnTo>
                    <a:pt x="124" y="1444"/>
                  </a:lnTo>
                  <a:lnTo>
                    <a:pt x="114" y="1448"/>
                  </a:lnTo>
                  <a:lnTo>
                    <a:pt x="105" y="1451"/>
                  </a:lnTo>
                  <a:lnTo>
                    <a:pt x="95" y="1454"/>
                  </a:lnTo>
                  <a:lnTo>
                    <a:pt x="85" y="1456"/>
                  </a:lnTo>
                  <a:lnTo>
                    <a:pt x="73" y="1458"/>
                  </a:lnTo>
                  <a:lnTo>
                    <a:pt x="63" y="1459"/>
                  </a:lnTo>
                  <a:lnTo>
                    <a:pt x="52" y="1460"/>
                  </a:lnTo>
                  <a:lnTo>
                    <a:pt x="42" y="1460"/>
                  </a:lnTo>
                  <a:lnTo>
                    <a:pt x="0" y="1423"/>
                  </a:lnTo>
                  <a:lnTo>
                    <a:pt x="22" y="1384"/>
                  </a:lnTo>
                  <a:lnTo>
                    <a:pt x="34" y="1383"/>
                  </a:lnTo>
                  <a:lnTo>
                    <a:pt x="44" y="1381"/>
                  </a:lnTo>
                  <a:lnTo>
                    <a:pt x="55" y="1377"/>
                  </a:lnTo>
                  <a:lnTo>
                    <a:pt x="65" y="1372"/>
                  </a:lnTo>
                  <a:lnTo>
                    <a:pt x="75" y="1366"/>
                  </a:lnTo>
                  <a:lnTo>
                    <a:pt x="86" y="1358"/>
                  </a:lnTo>
                  <a:lnTo>
                    <a:pt x="95" y="1349"/>
                  </a:lnTo>
                  <a:lnTo>
                    <a:pt x="104" y="1337"/>
                  </a:lnTo>
                  <a:lnTo>
                    <a:pt x="113" y="1326"/>
                  </a:lnTo>
                  <a:lnTo>
                    <a:pt x="122" y="1313"/>
                  </a:lnTo>
                  <a:lnTo>
                    <a:pt x="132" y="1298"/>
                  </a:lnTo>
                  <a:lnTo>
                    <a:pt x="140" y="1282"/>
                  </a:lnTo>
                  <a:lnTo>
                    <a:pt x="148" y="1265"/>
                  </a:lnTo>
                  <a:lnTo>
                    <a:pt x="156" y="1248"/>
                  </a:lnTo>
                  <a:lnTo>
                    <a:pt x="163" y="1228"/>
                  </a:lnTo>
                  <a:lnTo>
                    <a:pt x="171" y="1208"/>
                  </a:lnTo>
                  <a:lnTo>
                    <a:pt x="177" y="1186"/>
                  </a:lnTo>
                  <a:lnTo>
                    <a:pt x="185" y="1164"/>
                  </a:lnTo>
                  <a:lnTo>
                    <a:pt x="191" y="1140"/>
                  </a:lnTo>
                  <a:lnTo>
                    <a:pt x="197" y="1115"/>
                  </a:lnTo>
                  <a:lnTo>
                    <a:pt x="203" y="1089"/>
                  </a:lnTo>
                  <a:lnTo>
                    <a:pt x="208" y="1063"/>
                  </a:lnTo>
                  <a:lnTo>
                    <a:pt x="213" y="1035"/>
                  </a:lnTo>
                  <a:lnTo>
                    <a:pt x="217" y="1008"/>
                  </a:lnTo>
                  <a:lnTo>
                    <a:pt x="225" y="949"/>
                  </a:lnTo>
                  <a:lnTo>
                    <a:pt x="231" y="885"/>
                  </a:lnTo>
                  <a:lnTo>
                    <a:pt x="237" y="820"/>
                  </a:lnTo>
                  <a:lnTo>
                    <a:pt x="239" y="752"/>
                  </a:lnTo>
                  <a:lnTo>
                    <a:pt x="240" y="738"/>
                  </a:lnTo>
                  <a:lnTo>
                    <a:pt x="240" y="620"/>
                  </a:lnTo>
                  <a:lnTo>
                    <a:pt x="240" y="617"/>
                  </a:lnTo>
                  <a:lnTo>
                    <a:pt x="239" y="585"/>
                  </a:lnTo>
                  <a:lnTo>
                    <a:pt x="238" y="553"/>
                  </a:lnTo>
                  <a:lnTo>
                    <a:pt x="236" y="519"/>
                  </a:lnTo>
                  <a:lnTo>
                    <a:pt x="235" y="485"/>
                  </a:lnTo>
                  <a:lnTo>
                    <a:pt x="234" y="470"/>
                  </a:lnTo>
                  <a:lnTo>
                    <a:pt x="224" y="481"/>
                  </a:lnTo>
                  <a:lnTo>
                    <a:pt x="210" y="496"/>
                  </a:lnTo>
                  <a:lnTo>
                    <a:pt x="195" y="511"/>
                  </a:lnTo>
                  <a:lnTo>
                    <a:pt x="176" y="525"/>
                  </a:lnTo>
                  <a:lnTo>
                    <a:pt x="157" y="538"/>
                  </a:lnTo>
                  <a:lnTo>
                    <a:pt x="147" y="544"/>
                  </a:lnTo>
                  <a:lnTo>
                    <a:pt x="136" y="549"/>
                  </a:lnTo>
                  <a:lnTo>
                    <a:pt x="125" y="555"/>
                  </a:lnTo>
                  <a:lnTo>
                    <a:pt x="114" y="559"/>
                  </a:lnTo>
                  <a:lnTo>
                    <a:pt x="103" y="562"/>
                  </a:lnTo>
                  <a:lnTo>
                    <a:pt x="92" y="565"/>
                  </a:lnTo>
                  <a:lnTo>
                    <a:pt x="80" y="567"/>
                  </a:lnTo>
                  <a:lnTo>
                    <a:pt x="68" y="568"/>
                  </a:lnTo>
                  <a:lnTo>
                    <a:pt x="27" y="514"/>
                  </a:lnTo>
                  <a:lnTo>
                    <a:pt x="86" y="449"/>
                  </a:lnTo>
                  <a:lnTo>
                    <a:pt x="99" y="448"/>
                  </a:lnTo>
                  <a:lnTo>
                    <a:pt x="113" y="445"/>
                  </a:lnTo>
                  <a:lnTo>
                    <a:pt x="128" y="440"/>
                  </a:lnTo>
                  <a:lnTo>
                    <a:pt x="143" y="433"/>
                  </a:lnTo>
                  <a:lnTo>
                    <a:pt x="158" y="425"/>
                  </a:lnTo>
                  <a:lnTo>
                    <a:pt x="172" y="415"/>
                  </a:lnTo>
                  <a:lnTo>
                    <a:pt x="188" y="402"/>
                  </a:lnTo>
                  <a:lnTo>
                    <a:pt x="202" y="390"/>
                  </a:lnTo>
                  <a:lnTo>
                    <a:pt x="216" y="377"/>
                  </a:lnTo>
                  <a:lnTo>
                    <a:pt x="229" y="363"/>
                  </a:lnTo>
                  <a:lnTo>
                    <a:pt x="242" y="347"/>
                  </a:lnTo>
                  <a:lnTo>
                    <a:pt x="254" y="332"/>
                  </a:lnTo>
                  <a:lnTo>
                    <a:pt x="265" y="316"/>
                  </a:lnTo>
                  <a:lnTo>
                    <a:pt x="274" y="300"/>
                  </a:lnTo>
                  <a:lnTo>
                    <a:pt x="284" y="285"/>
                  </a:lnTo>
                  <a:lnTo>
                    <a:pt x="291" y="269"/>
                  </a:lnTo>
                  <a:lnTo>
                    <a:pt x="294" y="260"/>
                  </a:lnTo>
                  <a:lnTo>
                    <a:pt x="296" y="249"/>
                  </a:lnTo>
                  <a:lnTo>
                    <a:pt x="297" y="240"/>
                  </a:lnTo>
                  <a:lnTo>
                    <a:pt x="297" y="230"/>
                  </a:lnTo>
                  <a:lnTo>
                    <a:pt x="296" y="221"/>
                  </a:lnTo>
                  <a:lnTo>
                    <a:pt x="293" y="212"/>
                  </a:lnTo>
                  <a:lnTo>
                    <a:pt x="290" y="202"/>
                  </a:lnTo>
                  <a:lnTo>
                    <a:pt x="285" y="194"/>
                  </a:lnTo>
                  <a:lnTo>
                    <a:pt x="281" y="189"/>
                  </a:lnTo>
                  <a:lnTo>
                    <a:pt x="277" y="185"/>
                  </a:lnTo>
                  <a:lnTo>
                    <a:pt x="272" y="181"/>
                  </a:lnTo>
                  <a:lnTo>
                    <a:pt x="267" y="178"/>
                  </a:lnTo>
                  <a:lnTo>
                    <a:pt x="263" y="175"/>
                  </a:lnTo>
                  <a:lnTo>
                    <a:pt x="257" y="174"/>
                  </a:lnTo>
                  <a:lnTo>
                    <a:pt x="252" y="172"/>
                  </a:lnTo>
                  <a:lnTo>
                    <a:pt x="247" y="172"/>
                  </a:lnTo>
                  <a:lnTo>
                    <a:pt x="193" y="124"/>
                  </a:lnTo>
                  <a:lnTo>
                    <a:pt x="237" y="72"/>
                  </a:lnTo>
                  <a:lnTo>
                    <a:pt x="250" y="73"/>
                  </a:lnTo>
                  <a:lnTo>
                    <a:pt x="261" y="74"/>
                  </a:lnTo>
                  <a:lnTo>
                    <a:pt x="272" y="77"/>
                  </a:lnTo>
                  <a:lnTo>
                    <a:pt x="282" y="80"/>
                  </a:lnTo>
                  <a:lnTo>
                    <a:pt x="292" y="84"/>
                  </a:lnTo>
                  <a:lnTo>
                    <a:pt x="301" y="89"/>
                  </a:lnTo>
                  <a:lnTo>
                    <a:pt x="308" y="94"/>
                  </a:lnTo>
                  <a:lnTo>
                    <a:pt x="315" y="99"/>
                  </a:lnTo>
                  <a:lnTo>
                    <a:pt x="326" y="109"/>
                  </a:lnTo>
                  <a:lnTo>
                    <a:pt x="335" y="118"/>
                  </a:lnTo>
                  <a:lnTo>
                    <a:pt x="340" y="124"/>
                  </a:lnTo>
                  <a:lnTo>
                    <a:pt x="342" y="127"/>
                  </a:lnTo>
                  <a:lnTo>
                    <a:pt x="345" y="132"/>
                  </a:lnTo>
                  <a:lnTo>
                    <a:pt x="350" y="128"/>
                  </a:lnTo>
                  <a:lnTo>
                    <a:pt x="361" y="120"/>
                  </a:lnTo>
                  <a:lnTo>
                    <a:pt x="372" y="114"/>
                  </a:lnTo>
                  <a:lnTo>
                    <a:pt x="386" y="110"/>
                  </a:lnTo>
                  <a:lnTo>
                    <a:pt x="398" y="108"/>
                  </a:lnTo>
                  <a:lnTo>
                    <a:pt x="412" y="106"/>
                  </a:lnTo>
                  <a:lnTo>
                    <a:pt x="425" y="109"/>
                  </a:lnTo>
                  <a:lnTo>
                    <a:pt x="440" y="112"/>
                  </a:lnTo>
                  <a:lnTo>
                    <a:pt x="454" y="118"/>
                  </a:lnTo>
                  <a:lnTo>
                    <a:pt x="464" y="123"/>
                  </a:lnTo>
                  <a:lnTo>
                    <a:pt x="473" y="127"/>
                  </a:lnTo>
                  <a:lnTo>
                    <a:pt x="481" y="132"/>
                  </a:lnTo>
                  <a:lnTo>
                    <a:pt x="489" y="137"/>
                  </a:lnTo>
                  <a:lnTo>
                    <a:pt x="494" y="141"/>
                  </a:lnTo>
                  <a:lnTo>
                    <a:pt x="498" y="146"/>
                  </a:lnTo>
                  <a:lnTo>
                    <a:pt x="502" y="151"/>
                  </a:lnTo>
                  <a:lnTo>
                    <a:pt x="504" y="157"/>
                  </a:lnTo>
                  <a:lnTo>
                    <a:pt x="505" y="162"/>
                  </a:lnTo>
                  <a:lnTo>
                    <a:pt x="506" y="168"/>
                  </a:lnTo>
                  <a:lnTo>
                    <a:pt x="506" y="174"/>
                  </a:lnTo>
                  <a:lnTo>
                    <a:pt x="505" y="181"/>
                  </a:lnTo>
                  <a:lnTo>
                    <a:pt x="504" y="188"/>
                  </a:lnTo>
                  <a:lnTo>
                    <a:pt x="501" y="196"/>
                  </a:lnTo>
                  <a:lnTo>
                    <a:pt x="498" y="206"/>
                  </a:lnTo>
                  <a:lnTo>
                    <a:pt x="494" y="215"/>
                  </a:lnTo>
                  <a:lnTo>
                    <a:pt x="485" y="233"/>
                  </a:lnTo>
                  <a:lnTo>
                    <a:pt x="476" y="258"/>
                  </a:lnTo>
                  <a:lnTo>
                    <a:pt x="466" y="287"/>
                  </a:lnTo>
                  <a:lnTo>
                    <a:pt x="456" y="322"/>
                  </a:lnTo>
                  <a:lnTo>
                    <a:pt x="445" y="362"/>
                  </a:lnTo>
                  <a:lnTo>
                    <a:pt x="435" y="406"/>
                  </a:lnTo>
                  <a:lnTo>
                    <a:pt x="430" y="429"/>
                  </a:lnTo>
                  <a:lnTo>
                    <a:pt x="426" y="454"/>
                  </a:lnTo>
                  <a:lnTo>
                    <a:pt x="422" y="478"/>
                  </a:lnTo>
                  <a:lnTo>
                    <a:pt x="419" y="504"/>
                  </a:lnTo>
                  <a:lnTo>
                    <a:pt x="418" y="515"/>
                  </a:lnTo>
                  <a:lnTo>
                    <a:pt x="427" y="510"/>
                  </a:lnTo>
                  <a:lnTo>
                    <a:pt x="464" y="490"/>
                  </a:lnTo>
                  <a:lnTo>
                    <a:pt x="501" y="472"/>
                  </a:lnTo>
                  <a:lnTo>
                    <a:pt x="536" y="455"/>
                  </a:lnTo>
                  <a:lnTo>
                    <a:pt x="571" y="438"/>
                  </a:lnTo>
                  <a:lnTo>
                    <a:pt x="604" y="423"/>
                  </a:lnTo>
                  <a:lnTo>
                    <a:pt x="635" y="410"/>
                  </a:lnTo>
                  <a:lnTo>
                    <a:pt x="664" y="396"/>
                  </a:lnTo>
                  <a:lnTo>
                    <a:pt x="690" y="385"/>
                  </a:lnTo>
                  <a:lnTo>
                    <a:pt x="694" y="383"/>
                  </a:lnTo>
                  <a:lnTo>
                    <a:pt x="694" y="380"/>
                  </a:lnTo>
                  <a:lnTo>
                    <a:pt x="695" y="358"/>
                  </a:lnTo>
                  <a:lnTo>
                    <a:pt x="697" y="335"/>
                  </a:lnTo>
                  <a:lnTo>
                    <a:pt x="701" y="315"/>
                  </a:lnTo>
                  <a:lnTo>
                    <a:pt x="706" y="294"/>
                  </a:lnTo>
                  <a:lnTo>
                    <a:pt x="712" y="274"/>
                  </a:lnTo>
                  <a:lnTo>
                    <a:pt x="720" y="256"/>
                  </a:lnTo>
                  <a:lnTo>
                    <a:pt x="728" y="236"/>
                  </a:lnTo>
                  <a:lnTo>
                    <a:pt x="737" y="219"/>
                  </a:lnTo>
                  <a:lnTo>
                    <a:pt x="749" y="201"/>
                  </a:lnTo>
                  <a:lnTo>
                    <a:pt x="760" y="185"/>
                  </a:lnTo>
                  <a:lnTo>
                    <a:pt x="772" y="169"/>
                  </a:lnTo>
                  <a:lnTo>
                    <a:pt x="784" y="153"/>
                  </a:lnTo>
                  <a:lnTo>
                    <a:pt x="798" y="139"/>
                  </a:lnTo>
                  <a:lnTo>
                    <a:pt x="812" y="126"/>
                  </a:lnTo>
                  <a:lnTo>
                    <a:pt x="826" y="113"/>
                  </a:lnTo>
                  <a:lnTo>
                    <a:pt x="840" y="99"/>
                  </a:lnTo>
                  <a:lnTo>
                    <a:pt x="855" y="88"/>
                  </a:lnTo>
                  <a:lnTo>
                    <a:pt x="870" y="77"/>
                  </a:lnTo>
                  <a:lnTo>
                    <a:pt x="884" y="67"/>
                  </a:lnTo>
                  <a:lnTo>
                    <a:pt x="900" y="58"/>
                  </a:lnTo>
                  <a:lnTo>
                    <a:pt x="928" y="40"/>
                  </a:lnTo>
                  <a:lnTo>
                    <a:pt x="957" y="26"/>
                  </a:lnTo>
                  <a:lnTo>
                    <a:pt x="982" y="15"/>
                  </a:lnTo>
                  <a:lnTo>
                    <a:pt x="1006" y="7"/>
                  </a:lnTo>
                  <a:lnTo>
                    <a:pt x="1017" y="4"/>
                  </a:lnTo>
                  <a:lnTo>
                    <a:pt x="1026" y="2"/>
                  </a:lnTo>
                  <a:lnTo>
                    <a:pt x="1035" y="1"/>
                  </a:lnTo>
                  <a:lnTo>
                    <a:pt x="1042" y="0"/>
                  </a:lnTo>
                  <a:lnTo>
                    <a:pt x="1091" y="53"/>
                  </a:lnTo>
                  <a:lnTo>
                    <a:pt x="1042" y="10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4" name="Freeform 50"/>
            <p:cNvSpPr>
              <a:spLocks/>
            </p:cNvSpPr>
            <p:nvPr userDrawn="1"/>
          </p:nvSpPr>
          <p:spPr bwMode="auto">
            <a:xfrm>
              <a:off x="7147" y="571"/>
              <a:ext cx="17" cy="15"/>
            </a:xfrm>
            <a:custGeom>
              <a:avLst/>
              <a:gdLst>
                <a:gd name="T0" fmla="*/ 44 w 202"/>
                <a:gd name="T1" fmla="*/ 0 h 178"/>
                <a:gd name="T2" fmla="*/ 32 w 202"/>
                <a:gd name="T3" fmla="*/ 1 h 178"/>
                <a:gd name="T4" fmla="*/ 21 w 202"/>
                <a:gd name="T5" fmla="*/ 3 h 178"/>
                <a:gd name="T6" fmla="*/ 17 w 202"/>
                <a:gd name="T7" fmla="*/ 5 h 178"/>
                <a:gd name="T8" fmla="*/ 13 w 202"/>
                <a:gd name="T9" fmla="*/ 7 h 178"/>
                <a:gd name="T10" fmla="*/ 10 w 202"/>
                <a:gd name="T11" fmla="*/ 9 h 178"/>
                <a:gd name="T12" fmla="*/ 8 w 202"/>
                <a:gd name="T13" fmla="*/ 12 h 178"/>
                <a:gd name="T14" fmla="*/ 4 w 202"/>
                <a:gd name="T15" fmla="*/ 19 h 178"/>
                <a:gd name="T16" fmla="*/ 1 w 202"/>
                <a:gd name="T17" fmla="*/ 25 h 178"/>
                <a:gd name="T18" fmla="*/ 0 w 202"/>
                <a:gd name="T19" fmla="*/ 32 h 178"/>
                <a:gd name="T20" fmla="*/ 1 w 202"/>
                <a:gd name="T21" fmla="*/ 38 h 178"/>
                <a:gd name="T22" fmla="*/ 2 w 202"/>
                <a:gd name="T23" fmla="*/ 45 h 178"/>
                <a:gd name="T24" fmla="*/ 5 w 202"/>
                <a:gd name="T25" fmla="*/ 51 h 178"/>
                <a:gd name="T26" fmla="*/ 7 w 202"/>
                <a:gd name="T27" fmla="*/ 57 h 178"/>
                <a:gd name="T28" fmla="*/ 10 w 202"/>
                <a:gd name="T29" fmla="*/ 63 h 178"/>
                <a:gd name="T30" fmla="*/ 15 w 202"/>
                <a:gd name="T31" fmla="*/ 74 h 178"/>
                <a:gd name="T32" fmla="*/ 22 w 202"/>
                <a:gd name="T33" fmla="*/ 84 h 178"/>
                <a:gd name="T34" fmla="*/ 30 w 202"/>
                <a:gd name="T35" fmla="*/ 95 h 178"/>
                <a:gd name="T36" fmla="*/ 38 w 202"/>
                <a:gd name="T37" fmla="*/ 104 h 178"/>
                <a:gd name="T38" fmla="*/ 48 w 202"/>
                <a:gd name="T39" fmla="*/ 114 h 178"/>
                <a:gd name="T40" fmla="*/ 59 w 202"/>
                <a:gd name="T41" fmla="*/ 124 h 178"/>
                <a:gd name="T42" fmla="*/ 69 w 202"/>
                <a:gd name="T43" fmla="*/ 133 h 178"/>
                <a:gd name="T44" fmla="*/ 80 w 202"/>
                <a:gd name="T45" fmla="*/ 141 h 178"/>
                <a:gd name="T46" fmla="*/ 91 w 202"/>
                <a:gd name="T47" fmla="*/ 149 h 178"/>
                <a:gd name="T48" fmla="*/ 102 w 202"/>
                <a:gd name="T49" fmla="*/ 156 h 178"/>
                <a:gd name="T50" fmla="*/ 114 w 202"/>
                <a:gd name="T51" fmla="*/ 162 h 178"/>
                <a:gd name="T52" fmla="*/ 125 w 202"/>
                <a:gd name="T53" fmla="*/ 168 h 178"/>
                <a:gd name="T54" fmla="*/ 136 w 202"/>
                <a:gd name="T55" fmla="*/ 172 h 178"/>
                <a:gd name="T56" fmla="*/ 146 w 202"/>
                <a:gd name="T57" fmla="*/ 175 h 178"/>
                <a:gd name="T58" fmla="*/ 157 w 202"/>
                <a:gd name="T59" fmla="*/ 177 h 178"/>
                <a:gd name="T60" fmla="*/ 166 w 202"/>
                <a:gd name="T61" fmla="*/ 178 h 178"/>
                <a:gd name="T62" fmla="*/ 171 w 202"/>
                <a:gd name="T63" fmla="*/ 178 h 178"/>
                <a:gd name="T64" fmla="*/ 176 w 202"/>
                <a:gd name="T65" fmla="*/ 177 h 178"/>
                <a:gd name="T66" fmla="*/ 181 w 202"/>
                <a:gd name="T67" fmla="*/ 176 h 178"/>
                <a:gd name="T68" fmla="*/ 185 w 202"/>
                <a:gd name="T69" fmla="*/ 174 h 178"/>
                <a:gd name="T70" fmla="*/ 188 w 202"/>
                <a:gd name="T71" fmla="*/ 172 h 178"/>
                <a:gd name="T72" fmla="*/ 192 w 202"/>
                <a:gd name="T73" fmla="*/ 170 h 178"/>
                <a:gd name="T74" fmla="*/ 195 w 202"/>
                <a:gd name="T75" fmla="*/ 167 h 178"/>
                <a:gd name="T76" fmla="*/ 197 w 202"/>
                <a:gd name="T77" fmla="*/ 163 h 178"/>
                <a:gd name="T78" fmla="*/ 200 w 202"/>
                <a:gd name="T79" fmla="*/ 158 h 178"/>
                <a:gd name="T80" fmla="*/ 201 w 202"/>
                <a:gd name="T81" fmla="*/ 153 h 178"/>
                <a:gd name="T82" fmla="*/ 202 w 202"/>
                <a:gd name="T83" fmla="*/ 147 h 178"/>
                <a:gd name="T84" fmla="*/ 202 w 202"/>
                <a:gd name="T85" fmla="*/ 141 h 178"/>
                <a:gd name="T86" fmla="*/ 202 w 202"/>
                <a:gd name="T87" fmla="*/ 134 h 178"/>
                <a:gd name="T88" fmla="*/ 201 w 202"/>
                <a:gd name="T89" fmla="*/ 126 h 178"/>
                <a:gd name="T90" fmla="*/ 199 w 202"/>
                <a:gd name="T91" fmla="*/ 118 h 178"/>
                <a:gd name="T92" fmla="*/ 196 w 202"/>
                <a:gd name="T93" fmla="*/ 109 h 178"/>
                <a:gd name="T94" fmla="*/ 193 w 202"/>
                <a:gd name="T95" fmla="*/ 100 h 178"/>
                <a:gd name="T96" fmla="*/ 189 w 202"/>
                <a:gd name="T97" fmla="*/ 91 h 178"/>
                <a:gd name="T98" fmla="*/ 185 w 202"/>
                <a:gd name="T99" fmla="*/ 83 h 178"/>
                <a:gd name="T100" fmla="*/ 179 w 202"/>
                <a:gd name="T101" fmla="*/ 75 h 178"/>
                <a:gd name="T102" fmla="*/ 173 w 202"/>
                <a:gd name="T103" fmla="*/ 65 h 178"/>
                <a:gd name="T104" fmla="*/ 167 w 202"/>
                <a:gd name="T105" fmla="*/ 57 h 178"/>
                <a:gd name="T106" fmla="*/ 160 w 202"/>
                <a:gd name="T107" fmla="*/ 50 h 178"/>
                <a:gd name="T108" fmla="*/ 151 w 202"/>
                <a:gd name="T109" fmla="*/ 43 h 178"/>
                <a:gd name="T110" fmla="*/ 138 w 202"/>
                <a:gd name="T111" fmla="*/ 34 h 178"/>
                <a:gd name="T112" fmla="*/ 125 w 202"/>
                <a:gd name="T113" fmla="*/ 25 h 178"/>
                <a:gd name="T114" fmla="*/ 111 w 202"/>
                <a:gd name="T115" fmla="*/ 18 h 178"/>
                <a:gd name="T116" fmla="*/ 97 w 202"/>
                <a:gd name="T117" fmla="*/ 11 h 178"/>
                <a:gd name="T118" fmla="*/ 83 w 202"/>
                <a:gd name="T119" fmla="*/ 6 h 178"/>
                <a:gd name="T120" fmla="*/ 70 w 202"/>
                <a:gd name="T121" fmla="*/ 3 h 178"/>
                <a:gd name="T122" fmla="*/ 57 w 202"/>
                <a:gd name="T123" fmla="*/ 1 h 178"/>
                <a:gd name="T124" fmla="*/ 44 w 202"/>
                <a:gd name="T1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 h="178">
                  <a:moveTo>
                    <a:pt x="44" y="0"/>
                  </a:moveTo>
                  <a:lnTo>
                    <a:pt x="32" y="1"/>
                  </a:lnTo>
                  <a:lnTo>
                    <a:pt x="21" y="3"/>
                  </a:lnTo>
                  <a:lnTo>
                    <a:pt x="17" y="5"/>
                  </a:lnTo>
                  <a:lnTo>
                    <a:pt x="13" y="7"/>
                  </a:lnTo>
                  <a:lnTo>
                    <a:pt x="10" y="9"/>
                  </a:lnTo>
                  <a:lnTo>
                    <a:pt x="8" y="12"/>
                  </a:lnTo>
                  <a:lnTo>
                    <a:pt x="4" y="19"/>
                  </a:lnTo>
                  <a:lnTo>
                    <a:pt x="1" y="25"/>
                  </a:lnTo>
                  <a:lnTo>
                    <a:pt x="0" y="32"/>
                  </a:lnTo>
                  <a:lnTo>
                    <a:pt x="1" y="38"/>
                  </a:lnTo>
                  <a:lnTo>
                    <a:pt x="2" y="45"/>
                  </a:lnTo>
                  <a:lnTo>
                    <a:pt x="5" y="51"/>
                  </a:lnTo>
                  <a:lnTo>
                    <a:pt x="7" y="57"/>
                  </a:lnTo>
                  <a:lnTo>
                    <a:pt x="10" y="63"/>
                  </a:lnTo>
                  <a:lnTo>
                    <a:pt x="15" y="74"/>
                  </a:lnTo>
                  <a:lnTo>
                    <a:pt x="22" y="84"/>
                  </a:lnTo>
                  <a:lnTo>
                    <a:pt x="30" y="95"/>
                  </a:lnTo>
                  <a:lnTo>
                    <a:pt x="38" y="104"/>
                  </a:lnTo>
                  <a:lnTo>
                    <a:pt x="48" y="114"/>
                  </a:lnTo>
                  <a:lnTo>
                    <a:pt x="59" y="124"/>
                  </a:lnTo>
                  <a:lnTo>
                    <a:pt x="69" y="133"/>
                  </a:lnTo>
                  <a:lnTo>
                    <a:pt x="80" y="141"/>
                  </a:lnTo>
                  <a:lnTo>
                    <a:pt x="91" y="149"/>
                  </a:lnTo>
                  <a:lnTo>
                    <a:pt x="102" y="156"/>
                  </a:lnTo>
                  <a:lnTo>
                    <a:pt x="114" y="162"/>
                  </a:lnTo>
                  <a:lnTo>
                    <a:pt x="125" y="168"/>
                  </a:lnTo>
                  <a:lnTo>
                    <a:pt x="136" y="172"/>
                  </a:lnTo>
                  <a:lnTo>
                    <a:pt x="146" y="175"/>
                  </a:lnTo>
                  <a:lnTo>
                    <a:pt x="157" y="177"/>
                  </a:lnTo>
                  <a:lnTo>
                    <a:pt x="166" y="178"/>
                  </a:lnTo>
                  <a:lnTo>
                    <a:pt x="171" y="178"/>
                  </a:lnTo>
                  <a:lnTo>
                    <a:pt x="176" y="177"/>
                  </a:lnTo>
                  <a:lnTo>
                    <a:pt x="181" y="176"/>
                  </a:lnTo>
                  <a:lnTo>
                    <a:pt x="185" y="174"/>
                  </a:lnTo>
                  <a:lnTo>
                    <a:pt x="188" y="172"/>
                  </a:lnTo>
                  <a:lnTo>
                    <a:pt x="192" y="170"/>
                  </a:lnTo>
                  <a:lnTo>
                    <a:pt x="195" y="167"/>
                  </a:lnTo>
                  <a:lnTo>
                    <a:pt x="197" y="163"/>
                  </a:lnTo>
                  <a:lnTo>
                    <a:pt x="200" y="158"/>
                  </a:lnTo>
                  <a:lnTo>
                    <a:pt x="201" y="153"/>
                  </a:lnTo>
                  <a:lnTo>
                    <a:pt x="202" y="147"/>
                  </a:lnTo>
                  <a:lnTo>
                    <a:pt x="202" y="141"/>
                  </a:lnTo>
                  <a:lnTo>
                    <a:pt x="202" y="134"/>
                  </a:lnTo>
                  <a:lnTo>
                    <a:pt x="201" y="126"/>
                  </a:lnTo>
                  <a:lnTo>
                    <a:pt x="199" y="118"/>
                  </a:lnTo>
                  <a:lnTo>
                    <a:pt x="196" y="109"/>
                  </a:lnTo>
                  <a:lnTo>
                    <a:pt x="193" y="100"/>
                  </a:lnTo>
                  <a:lnTo>
                    <a:pt x="189" y="91"/>
                  </a:lnTo>
                  <a:lnTo>
                    <a:pt x="185" y="83"/>
                  </a:lnTo>
                  <a:lnTo>
                    <a:pt x="179" y="75"/>
                  </a:lnTo>
                  <a:lnTo>
                    <a:pt x="173" y="65"/>
                  </a:lnTo>
                  <a:lnTo>
                    <a:pt x="167" y="57"/>
                  </a:lnTo>
                  <a:lnTo>
                    <a:pt x="160" y="50"/>
                  </a:lnTo>
                  <a:lnTo>
                    <a:pt x="151" y="43"/>
                  </a:lnTo>
                  <a:lnTo>
                    <a:pt x="138" y="34"/>
                  </a:lnTo>
                  <a:lnTo>
                    <a:pt x="125" y="25"/>
                  </a:lnTo>
                  <a:lnTo>
                    <a:pt x="111" y="18"/>
                  </a:lnTo>
                  <a:lnTo>
                    <a:pt x="97" y="11"/>
                  </a:lnTo>
                  <a:lnTo>
                    <a:pt x="83" y="6"/>
                  </a:lnTo>
                  <a:lnTo>
                    <a:pt x="70" y="3"/>
                  </a:lnTo>
                  <a:lnTo>
                    <a:pt x="57" y="1"/>
                  </a:lnTo>
                  <a:lnTo>
                    <a:pt x="4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5" name="Freeform 51"/>
            <p:cNvSpPr>
              <a:spLocks/>
            </p:cNvSpPr>
            <p:nvPr userDrawn="1"/>
          </p:nvSpPr>
          <p:spPr bwMode="auto">
            <a:xfrm>
              <a:off x="6747" y="571"/>
              <a:ext cx="17" cy="13"/>
            </a:xfrm>
            <a:custGeom>
              <a:avLst/>
              <a:gdLst>
                <a:gd name="T0" fmla="*/ 39 w 203"/>
                <a:gd name="T1" fmla="*/ 0 h 161"/>
                <a:gd name="T2" fmla="*/ 31 w 203"/>
                <a:gd name="T3" fmla="*/ 1 h 161"/>
                <a:gd name="T4" fmla="*/ 23 w 203"/>
                <a:gd name="T5" fmla="*/ 3 h 161"/>
                <a:gd name="T6" fmla="*/ 17 w 203"/>
                <a:gd name="T7" fmla="*/ 7 h 161"/>
                <a:gd name="T8" fmla="*/ 11 w 203"/>
                <a:gd name="T9" fmla="*/ 12 h 161"/>
                <a:gd name="T10" fmla="*/ 6 w 203"/>
                <a:gd name="T11" fmla="*/ 18 h 161"/>
                <a:gd name="T12" fmla="*/ 3 w 203"/>
                <a:gd name="T13" fmla="*/ 26 h 161"/>
                <a:gd name="T14" fmla="*/ 1 w 203"/>
                <a:gd name="T15" fmla="*/ 32 h 161"/>
                <a:gd name="T16" fmla="*/ 0 w 203"/>
                <a:gd name="T17" fmla="*/ 39 h 161"/>
                <a:gd name="T18" fmla="*/ 1 w 203"/>
                <a:gd name="T19" fmla="*/ 46 h 161"/>
                <a:gd name="T20" fmla="*/ 2 w 203"/>
                <a:gd name="T21" fmla="*/ 53 h 161"/>
                <a:gd name="T22" fmla="*/ 4 w 203"/>
                <a:gd name="T23" fmla="*/ 60 h 161"/>
                <a:gd name="T24" fmla="*/ 8 w 203"/>
                <a:gd name="T25" fmla="*/ 68 h 161"/>
                <a:gd name="T26" fmla="*/ 13 w 203"/>
                <a:gd name="T27" fmla="*/ 78 h 161"/>
                <a:gd name="T28" fmla="*/ 19 w 203"/>
                <a:gd name="T29" fmla="*/ 86 h 161"/>
                <a:gd name="T30" fmla="*/ 26 w 203"/>
                <a:gd name="T31" fmla="*/ 94 h 161"/>
                <a:gd name="T32" fmla="*/ 34 w 203"/>
                <a:gd name="T33" fmla="*/ 103 h 161"/>
                <a:gd name="T34" fmla="*/ 42 w 203"/>
                <a:gd name="T35" fmla="*/ 111 h 161"/>
                <a:gd name="T36" fmla="*/ 52 w 203"/>
                <a:gd name="T37" fmla="*/ 118 h 161"/>
                <a:gd name="T38" fmla="*/ 62 w 203"/>
                <a:gd name="T39" fmla="*/ 126 h 161"/>
                <a:gd name="T40" fmla="*/ 73 w 203"/>
                <a:gd name="T41" fmla="*/ 133 h 161"/>
                <a:gd name="T42" fmla="*/ 83 w 203"/>
                <a:gd name="T43" fmla="*/ 139 h 161"/>
                <a:gd name="T44" fmla="*/ 94 w 203"/>
                <a:gd name="T45" fmla="*/ 144 h 161"/>
                <a:gd name="T46" fmla="*/ 105 w 203"/>
                <a:gd name="T47" fmla="*/ 149 h 161"/>
                <a:gd name="T48" fmla="*/ 117 w 203"/>
                <a:gd name="T49" fmla="*/ 153 h 161"/>
                <a:gd name="T50" fmla="*/ 128 w 203"/>
                <a:gd name="T51" fmla="*/ 157 h 161"/>
                <a:gd name="T52" fmla="*/ 139 w 203"/>
                <a:gd name="T53" fmla="*/ 159 h 161"/>
                <a:gd name="T54" fmla="*/ 149 w 203"/>
                <a:gd name="T55" fmla="*/ 161 h 161"/>
                <a:gd name="T56" fmla="*/ 159 w 203"/>
                <a:gd name="T57" fmla="*/ 161 h 161"/>
                <a:gd name="T58" fmla="*/ 167 w 203"/>
                <a:gd name="T59" fmla="*/ 161 h 161"/>
                <a:gd name="T60" fmla="*/ 173 w 203"/>
                <a:gd name="T61" fmla="*/ 160 h 161"/>
                <a:gd name="T62" fmla="*/ 179 w 203"/>
                <a:gd name="T63" fmla="*/ 159 h 161"/>
                <a:gd name="T64" fmla="*/ 184 w 203"/>
                <a:gd name="T65" fmla="*/ 157 h 161"/>
                <a:gd name="T66" fmla="*/ 189 w 203"/>
                <a:gd name="T67" fmla="*/ 155 h 161"/>
                <a:gd name="T68" fmla="*/ 193 w 203"/>
                <a:gd name="T69" fmla="*/ 152 h 161"/>
                <a:gd name="T70" fmla="*/ 197 w 203"/>
                <a:gd name="T71" fmla="*/ 149 h 161"/>
                <a:gd name="T72" fmla="*/ 201 w 203"/>
                <a:gd name="T73" fmla="*/ 145 h 161"/>
                <a:gd name="T74" fmla="*/ 202 w 203"/>
                <a:gd name="T75" fmla="*/ 142 h 161"/>
                <a:gd name="T76" fmla="*/ 203 w 203"/>
                <a:gd name="T77" fmla="*/ 139 h 161"/>
                <a:gd name="T78" fmla="*/ 203 w 203"/>
                <a:gd name="T79" fmla="*/ 135 h 161"/>
                <a:gd name="T80" fmla="*/ 203 w 203"/>
                <a:gd name="T81" fmla="*/ 131 h 161"/>
                <a:gd name="T82" fmla="*/ 201 w 203"/>
                <a:gd name="T83" fmla="*/ 124 h 161"/>
                <a:gd name="T84" fmla="*/ 198 w 203"/>
                <a:gd name="T85" fmla="*/ 117 h 161"/>
                <a:gd name="T86" fmla="*/ 193 w 203"/>
                <a:gd name="T87" fmla="*/ 107 h 161"/>
                <a:gd name="T88" fmla="*/ 187 w 203"/>
                <a:gd name="T89" fmla="*/ 98 h 161"/>
                <a:gd name="T90" fmla="*/ 179 w 203"/>
                <a:gd name="T91" fmla="*/ 88 h 161"/>
                <a:gd name="T92" fmla="*/ 171 w 203"/>
                <a:gd name="T93" fmla="*/ 78 h 161"/>
                <a:gd name="T94" fmla="*/ 162 w 203"/>
                <a:gd name="T95" fmla="*/ 68 h 161"/>
                <a:gd name="T96" fmla="*/ 151 w 203"/>
                <a:gd name="T97" fmla="*/ 58 h 161"/>
                <a:gd name="T98" fmla="*/ 140 w 203"/>
                <a:gd name="T99" fmla="*/ 49 h 161"/>
                <a:gd name="T100" fmla="*/ 129 w 203"/>
                <a:gd name="T101" fmla="*/ 40 h 161"/>
                <a:gd name="T102" fmla="*/ 118 w 203"/>
                <a:gd name="T103" fmla="*/ 32 h 161"/>
                <a:gd name="T104" fmla="*/ 105 w 203"/>
                <a:gd name="T105" fmla="*/ 24 h 161"/>
                <a:gd name="T106" fmla="*/ 94 w 203"/>
                <a:gd name="T107" fmla="*/ 17 h 161"/>
                <a:gd name="T108" fmla="*/ 82 w 203"/>
                <a:gd name="T109" fmla="*/ 11 h 161"/>
                <a:gd name="T110" fmla="*/ 71 w 203"/>
                <a:gd name="T111" fmla="*/ 6 h 161"/>
                <a:gd name="T112" fmla="*/ 60 w 203"/>
                <a:gd name="T113" fmla="*/ 3 h 161"/>
                <a:gd name="T114" fmla="*/ 49 w 203"/>
                <a:gd name="T115" fmla="*/ 1 h 161"/>
                <a:gd name="T116" fmla="*/ 39 w 203"/>
                <a:gd name="T117" fmla="*/ 0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161">
                  <a:moveTo>
                    <a:pt x="39" y="0"/>
                  </a:moveTo>
                  <a:lnTo>
                    <a:pt x="31" y="1"/>
                  </a:lnTo>
                  <a:lnTo>
                    <a:pt x="23" y="3"/>
                  </a:lnTo>
                  <a:lnTo>
                    <a:pt x="17" y="7"/>
                  </a:lnTo>
                  <a:lnTo>
                    <a:pt x="11" y="12"/>
                  </a:lnTo>
                  <a:lnTo>
                    <a:pt x="6" y="18"/>
                  </a:lnTo>
                  <a:lnTo>
                    <a:pt x="3" y="26"/>
                  </a:lnTo>
                  <a:lnTo>
                    <a:pt x="1" y="32"/>
                  </a:lnTo>
                  <a:lnTo>
                    <a:pt x="0" y="39"/>
                  </a:lnTo>
                  <a:lnTo>
                    <a:pt x="1" y="46"/>
                  </a:lnTo>
                  <a:lnTo>
                    <a:pt x="2" y="53"/>
                  </a:lnTo>
                  <a:lnTo>
                    <a:pt x="4" y="60"/>
                  </a:lnTo>
                  <a:lnTo>
                    <a:pt x="8" y="68"/>
                  </a:lnTo>
                  <a:lnTo>
                    <a:pt x="13" y="78"/>
                  </a:lnTo>
                  <a:lnTo>
                    <a:pt x="19" y="86"/>
                  </a:lnTo>
                  <a:lnTo>
                    <a:pt x="26" y="94"/>
                  </a:lnTo>
                  <a:lnTo>
                    <a:pt x="34" y="103"/>
                  </a:lnTo>
                  <a:lnTo>
                    <a:pt x="42" y="111"/>
                  </a:lnTo>
                  <a:lnTo>
                    <a:pt x="52" y="118"/>
                  </a:lnTo>
                  <a:lnTo>
                    <a:pt x="62" y="126"/>
                  </a:lnTo>
                  <a:lnTo>
                    <a:pt x="73" y="133"/>
                  </a:lnTo>
                  <a:lnTo>
                    <a:pt x="83" y="139"/>
                  </a:lnTo>
                  <a:lnTo>
                    <a:pt x="94" y="144"/>
                  </a:lnTo>
                  <a:lnTo>
                    <a:pt x="105" y="149"/>
                  </a:lnTo>
                  <a:lnTo>
                    <a:pt x="117" y="153"/>
                  </a:lnTo>
                  <a:lnTo>
                    <a:pt x="128" y="157"/>
                  </a:lnTo>
                  <a:lnTo>
                    <a:pt x="139" y="159"/>
                  </a:lnTo>
                  <a:lnTo>
                    <a:pt x="149" y="161"/>
                  </a:lnTo>
                  <a:lnTo>
                    <a:pt x="159" y="161"/>
                  </a:lnTo>
                  <a:lnTo>
                    <a:pt x="167" y="161"/>
                  </a:lnTo>
                  <a:lnTo>
                    <a:pt x="173" y="160"/>
                  </a:lnTo>
                  <a:lnTo>
                    <a:pt x="179" y="159"/>
                  </a:lnTo>
                  <a:lnTo>
                    <a:pt x="184" y="157"/>
                  </a:lnTo>
                  <a:lnTo>
                    <a:pt x="189" y="155"/>
                  </a:lnTo>
                  <a:lnTo>
                    <a:pt x="193" y="152"/>
                  </a:lnTo>
                  <a:lnTo>
                    <a:pt x="197" y="149"/>
                  </a:lnTo>
                  <a:lnTo>
                    <a:pt x="201" y="145"/>
                  </a:lnTo>
                  <a:lnTo>
                    <a:pt x="202" y="142"/>
                  </a:lnTo>
                  <a:lnTo>
                    <a:pt x="203" y="139"/>
                  </a:lnTo>
                  <a:lnTo>
                    <a:pt x="203" y="135"/>
                  </a:lnTo>
                  <a:lnTo>
                    <a:pt x="203" y="131"/>
                  </a:lnTo>
                  <a:lnTo>
                    <a:pt x="201" y="124"/>
                  </a:lnTo>
                  <a:lnTo>
                    <a:pt x="198" y="117"/>
                  </a:lnTo>
                  <a:lnTo>
                    <a:pt x="193" y="107"/>
                  </a:lnTo>
                  <a:lnTo>
                    <a:pt x="187" y="98"/>
                  </a:lnTo>
                  <a:lnTo>
                    <a:pt x="179" y="88"/>
                  </a:lnTo>
                  <a:lnTo>
                    <a:pt x="171" y="78"/>
                  </a:lnTo>
                  <a:lnTo>
                    <a:pt x="162" y="68"/>
                  </a:lnTo>
                  <a:lnTo>
                    <a:pt x="151" y="58"/>
                  </a:lnTo>
                  <a:lnTo>
                    <a:pt x="140" y="49"/>
                  </a:lnTo>
                  <a:lnTo>
                    <a:pt x="129" y="40"/>
                  </a:lnTo>
                  <a:lnTo>
                    <a:pt x="118" y="32"/>
                  </a:lnTo>
                  <a:lnTo>
                    <a:pt x="105" y="24"/>
                  </a:lnTo>
                  <a:lnTo>
                    <a:pt x="94" y="17"/>
                  </a:lnTo>
                  <a:lnTo>
                    <a:pt x="82" y="11"/>
                  </a:lnTo>
                  <a:lnTo>
                    <a:pt x="71" y="6"/>
                  </a:lnTo>
                  <a:lnTo>
                    <a:pt x="60" y="3"/>
                  </a:lnTo>
                  <a:lnTo>
                    <a:pt x="49" y="1"/>
                  </a:lnTo>
                  <a:lnTo>
                    <a:pt x="3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6" name="Freeform 52"/>
            <p:cNvSpPr>
              <a:spLocks/>
            </p:cNvSpPr>
            <p:nvPr userDrawn="1"/>
          </p:nvSpPr>
          <p:spPr bwMode="auto">
            <a:xfrm>
              <a:off x="6162" y="347"/>
              <a:ext cx="109" cy="148"/>
            </a:xfrm>
            <a:custGeom>
              <a:avLst/>
              <a:gdLst>
                <a:gd name="T0" fmla="*/ 139 w 1310"/>
                <a:gd name="T1" fmla="*/ 1401 h 1770"/>
                <a:gd name="T2" fmla="*/ 306 w 1310"/>
                <a:gd name="T3" fmla="*/ 1438 h 1770"/>
                <a:gd name="T4" fmla="*/ 458 w 1310"/>
                <a:gd name="T5" fmla="*/ 1457 h 1770"/>
                <a:gd name="T6" fmla="*/ 615 w 1310"/>
                <a:gd name="T7" fmla="*/ 1458 h 1770"/>
                <a:gd name="T8" fmla="*/ 741 w 1310"/>
                <a:gd name="T9" fmla="*/ 1434 h 1770"/>
                <a:gd name="T10" fmla="*/ 790 w 1310"/>
                <a:gd name="T11" fmla="*/ 1409 h 1770"/>
                <a:gd name="T12" fmla="*/ 825 w 1310"/>
                <a:gd name="T13" fmla="*/ 1378 h 1770"/>
                <a:gd name="T14" fmla="*/ 844 w 1310"/>
                <a:gd name="T15" fmla="*/ 1337 h 1770"/>
                <a:gd name="T16" fmla="*/ 848 w 1310"/>
                <a:gd name="T17" fmla="*/ 1285 h 1770"/>
                <a:gd name="T18" fmla="*/ 824 w 1310"/>
                <a:gd name="T19" fmla="*/ 1220 h 1770"/>
                <a:gd name="T20" fmla="*/ 749 w 1310"/>
                <a:gd name="T21" fmla="*/ 1161 h 1770"/>
                <a:gd name="T22" fmla="*/ 571 w 1310"/>
                <a:gd name="T23" fmla="*/ 1078 h 1770"/>
                <a:gd name="T24" fmla="*/ 321 w 1310"/>
                <a:gd name="T25" fmla="*/ 964 h 1770"/>
                <a:gd name="T26" fmla="*/ 198 w 1310"/>
                <a:gd name="T27" fmla="*/ 893 h 1770"/>
                <a:gd name="T28" fmla="*/ 116 w 1310"/>
                <a:gd name="T29" fmla="*/ 826 h 1770"/>
                <a:gd name="T30" fmla="*/ 52 w 1310"/>
                <a:gd name="T31" fmla="*/ 736 h 1770"/>
                <a:gd name="T32" fmla="*/ 13 w 1310"/>
                <a:gd name="T33" fmla="*/ 633 h 1770"/>
                <a:gd name="T34" fmla="*/ 0 w 1310"/>
                <a:gd name="T35" fmla="*/ 516 h 1770"/>
                <a:gd name="T36" fmla="*/ 19 w 1310"/>
                <a:gd name="T37" fmla="*/ 370 h 1770"/>
                <a:gd name="T38" fmla="*/ 75 w 1310"/>
                <a:gd name="T39" fmla="*/ 247 h 1770"/>
                <a:gd name="T40" fmla="*/ 169 w 1310"/>
                <a:gd name="T41" fmla="*/ 148 h 1770"/>
                <a:gd name="T42" fmla="*/ 294 w 1310"/>
                <a:gd name="T43" fmla="*/ 73 h 1770"/>
                <a:gd name="T44" fmla="*/ 443 w 1310"/>
                <a:gd name="T45" fmla="*/ 24 h 1770"/>
                <a:gd name="T46" fmla="*/ 614 w 1310"/>
                <a:gd name="T47" fmla="*/ 2 h 1770"/>
                <a:gd name="T48" fmla="*/ 836 w 1310"/>
                <a:gd name="T49" fmla="*/ 8 h 1770"/>
                <a:gd name="T50" fmla="*/ 1177 w 1310"/>
                <a:gd name="T51" fmla="*/ 61 h 1770"/>
                <a:gd name="T52" fmla="*/ 1060 w 1310"/>
                <a:gd name="T53" fmla="*/ 344 h 1770"/>
                <a:gd name="T54" fmla="*/ 921 w 1310"/>
                <a:gd name="T55" fmla="*/ 309 h 1770"/>
                <a:gd name="T56" fmla="*/ 787 w 1310"/>
                <a:gd name="T57" fmla="*/ 292 h 1770"/>
                <a:gd name="T58" fmla="*/ 638 w 1310"/>
                <a:gd name="T59" fmla="*/ 296 h 1770"/>
                <a:gd name="T60" fmla="*/ 521 w 1310"/>
                <a:gd name="T61" fmla="*/ 331 h 1770"/>
                <a:gd name="T62" fmla="*/ 483 w 1310"/>
                <a:gd name="T63" fmla="*/ 359 h 1770"/>
                <a:gd name="T64" fmla="*/ 459 w 1310"/>
                <a:gd name="T65" fmla="*/ 395 h 1770"/>
                <a:gd name="T66" fmla="*/ 450 w 1310"/>
                <a:gd name="T67" fmla="*/ 439 h 1770"/>
                <a:gd name="T68" fmla="*/ 463 w 1310"/>
                <a:gd name="T69" fmla="*/ 502 h 1770"/>
                <a:gd name="T70" fmla="*/ 521 w 1310"/>
                <a:gd name="T71" fmla="*/ 553 h 1770"/>
                <a:gd name="T72" fmla="*/ 674 w 1310"/>
                <a:gd name="T73" fmla="*/ 629 h 1770"/>
                <a:gd name="T74" fmla="*/ 946 w 1310"/>
                <a:gd name="T75" fmla="*/ 756 h 1770"/>
                <a:gd name="T76" fmla="*/ 1080 w 1310"/>
                <a:gd name="T77" fmla="*/ 832 h 1770"/>
                <a:gd name="T78" fmla="*/ 1174 w 1310"/>
                <a:gd name="T79" fmla="*/ 901 h 1770"/>
                <a:gd name="T80" fmla="*/ 1241 w 1310"/>
                <a:gd name="T81" fmla="*/ 979 h 1770"/>
                <a:gd name="T82" fmla="*/ 1287 w 1310"/>
                <a:gd name="T83" fmla="*/ 1074 h 1770"/>
                <a:gd name="T84" fmla="*/ 1308 w 1310"/>
                <a:gd name="T85" fmla="*/ 1182 h 1770"/>
                <a:gd name="T86" fmla="*/ 1301 w 1310"/>
                <a:gd name="T87" fmla="*/ 1328 h 1770"/>
                <a:gd name="T88" fmla="*/ 1276 w 1310"/>
                <a:gd name="T89" fmla="*/ 1418 h 1770"/>
                <a:gd name="T90" fmla="*/ 1242 w 1310"/>
                <a:gd name="T91" fmla="*/ 1486 h 1770"/>
                <a:gd name="T92" fmla="*/ 1196 w 1310"/>
                <a:gd name="T93" fmla="*/ 1547 h 1770"/>
                <a:gd name="T94" fmla="*/ 1098 w 1310"/>
                <a:gd name="T95" fmla="*/ 1633 h 1770"/>
                <a:gd name="T96" fmla="*/ 965 w 1310"/>
                <a:gd name="T97" fmla="*/ 1703 h 1770"/>
                <a:gd name="T98" fmla="*/ 813 w 1310"/>
                <a:gd name="T99" fmla="*/ 1747 h 1770"/>
                <a:gd name="T100" fmla="*/ 639 w 1310"/>
                <a:gd name="T101" fmla="*/ 1768 h 1770"/>
                <a:gd name="T102" fmla="*/ 366 w 1310"/>
                <a:gd name="T103" fmla="*/ 1761 h 1770"/>
                <a:gd name="T104" fmla="*/ 34 w 1310"/>
                <a:gd name="T105" fmla="*/ 1707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10" h="1770">
                  <a:moveTo>
                    <a:pt x="34" y="1707"/>
                  </a:moveTo>
                  <a:lnTo>
                    <a:pt x="34" y="1371"/>
                  </a:lnTo>
                  <a:lnTo>
                    <a:pt x="70" y="1382"/>
                  </a:lnTo>
                  <a:lnTo>
                    <a:pt x="105" y="1392"/>
                  </a:lnTo>
                  <a:lnTo>
                    <a:pt x="139" y="1401"/>
                  </a:lnTo>
                  <a:lnTo>
                    <a:pt x="174" y="1410"/>
                  </a:lnTo>
                  <a:lnTo>
                    <a:pt x="208" y="1419"/>
                  </a:lnTo>
                  <a:lnTo>
                    <a:pt x="240" y="1426"/>
                  </a:lnTo>
                  <a:lnTo>
                    <a:pt x="273" y="1432"/>
                  </a:lnTo>
                  <a:lnTo>
                    <a:pt x="306" y="1438"/>
                  </a:lnTo>
                  <a:lnTo>
                    <a:pt x="336" y="1444"/>
                  </a:lnTo>
                  <a:lnTo>
                    <a:pt x="368" y="1448"/>
                  </a:lnTo>
                  <a:lnTo>
                    <a:pt x="399" y="1452"/>
                  </a:lnTo>
                  <a:lnTo>
                    <a:pt x="428" y="1455"/>
                  </a:lnTo>
                  <a:lnTo>
                    <a:pt x="458" y="1457"/>
                  </a:lnTo>
                  <a:lnTo>
                    <a:pt x="486" y="1459"/>
                  </a:lnTo>
                  <a:lnTo>
                    <a:pt x="515" y="1460"/>
                  </a:lnTo>
                  <a:lnTo>
                    <a:pt x="543" y="1461"/>
                  </a:lnTo>
                  <a:lnTo>
                    <a:pt x="580" y="1460"/>
                  </a:lnTo>
                  <a:lnTo>
                    <a:pt x="615" y="1458"/>
                  </a:lnTo>
                  <a:lnTo>
                    <a:pt x="646" y="1455"/>
                  </a:lnTo>
                  <a:lnTo>
                    <a:pt x="677" y="1451"/>
                  </a:lnTo>
                  <a:lnTo>
                    <a:pt x="705" y="1445"/>
                  </a:lnTo>
                  <a:lnTo>
                    <a:pt x="729" y="1438"/>
                  </a:lnTo>
                  <a:lnTo>
                    <a:pt x="741" y="1434"/>
                  </a:lnTo>
                  <a:lnTo>
                    <a:pt x="751" y="1430"/>
                  </a:lnTo>
                  <a:lnTo>
                    <a:pt x="763" y="1426"/>
                  </a:lnTo>
                  <a:lnTo>
                    <a:pt x="772" y="1421"/>
                  </a:lnTo>
                  <a:lnTo>
                    <a:pt x="781" y="1416"/>
                  </a:lnTo>
                  <a:lnTo>
                    <a:pt x="790" y="1409"/>
                  </a:lnTo>
                  <a:lnTo>
                    <a:pt x="798" y="1404"/>
                  </a:lnTo>
                  <a:lnTo>
                    <a:pt x="805" y="1398"/>
                  </a:lnTo>
                  <a:lnTo>
                    <a:pt x="813" y="1391"/>
                  </a:lnTo>
                  <a:lnTo>
                    <a:pt x="819" y="1385"/>
                  </a:lnTo>
                  <a:lnTo>
                    <a:pt x="825" y="1378"/>
                  </a:lnTo>
                  <a:lnTo>
                    <a:pt x="829" y="1370"/>
                  </a:lnTo>
                  <a:lnTo>
                    <a:pt x="834" y="1362"/>
                  </a:lnTo>
                  <a:lnTo>
                    <a:pt x="838" y="1354"/>
                  </a:lnTo>
                  <a:lnTo>
                    <a:pt x="841" y="1346"/>
                  </a:lnTo>
                  <a:lnTo>
                    <a:pt x="844" y="1337"/>
                  </a:lnTo>
                  <a:lnTo>
                    <a:pt x="846" y="1329"/>
                  </a:lnTo>
                  <a:lnTo>
                    <a:pt x="847" y="1319"/>
                  </a:lnTo>
                  <a:lnTo>
                    <a:pt x="848" y="1309"/>
                  </a:lnTo>
                  <a:lnTo>
                    <a:pt x="848" y="1299"/>
                  </a:lnTo>
                  <a:lnTo>
                    <a:pt x="848" y="1285"/>
                  </a:lnTo>
                  <a:lnTo>
                    <a:pt x="845" y="1271"/>
                  </a:lnTo>
                  <a:lnTo>
                    <a:pt x="842" y="1257"/>
                  </a:lnTo>
                  <a:lnTo>
                    <a:pt x="837" y="1244"/>
                  </a:lnTo>
                  <a:lnTo>
                    <a:pt x="831" y="1232"/>
                  </a:lnTo>
                  <a:lnTo>
                    <a:pt x="824" y="1220"/>
                  </a:lnTo>
                  <a:lnTo>
                    <a:pt x="815" y="1208"/>
                  </a:lnTo>
                  <a:lnTo>
                    <a:pt x="804" y="1198"/>
                  </a:lnTo>
                  <a:lnTo>
                    <a:pt x="790" y="1187"/>
                  </a:lnTo>
                  <a:lnTo>
                    <a:pt x="773" y="1175"/>
                  </a:lnTo>
                  <a:lnTo>
                    <a:pt x="749" y="1161"/>
                  </a:lnTo>
                  <a:lnTo>
                    <a:pt x="723" y="1146"/>
                  </a:lnTo>
                  <a:lnTo>
                    <a:pt x="691" y="1131"/>
                  </a:lnTo>
                  <a:lnTo>
                    <a:pt x="656" y="1114"/>
                  </a:lnTo>
                  <a:lnTo>
                    <a:pt x="616" y="1096"/>
                  </a:lnTo>
                  <a:lnTo>
                    <a:pt x="571" y="1078"/>
                  </a:lnTo>
                  <a:lnTo>
                    <a:pt x="490" y="1044"/>
                  </a:lnTo>
                  <a:lnTo>
                    <a:pt x="417" y="1011"/>
                  </a:lnTo>
                  <a:lnTo>
                    <a:pt x="383" y="995"/>
                  </a:lnTo>
                  <a:lnTo>
                    <a:pt x="352" y="980"/>
                  </a:lnTo>
                  <a:lnTo>
                    <a:pt x="321" y="964"/>
                  </a:lnTo>
                  <a:lnTo>
                    <a:pt x="292" y="949"/>
                  </a:lnTo>
                  <a:lnTo>
                    <a:pt x="266" y="935"/>
                  </a:lnTo>
                  <a:lnTo>
                    <a:pt x="241" y="921"/>
                  </a:lnTo>
                  <a:lnTo>
                    <a:pt x="219" y="906"/>
                  </a:lnTo>
                  <a:lnTo>
                    <a:pt x="198" y="893"/>
                  </a:lnTo>
                  <a:lnTo>
                    <a:pt x="178" y="880"/>
                  </a:lnTo>
                  <a:lnTo>
                    <a:pt x="161" y="866"/>
                  </a:lnTo>
                  <a:lnTo>
                    <a:pt x="146" y="854"/>
                  </a:lnTo>
                  <a:lnTo>
                    <a:pt x="132" y="842"/>
                  </a:lnTo>
                  <a:lnTo>
                    <a:pt x="116" y="826"/>
                  </a:lnTo>
                  <a:lnTo>
                    <a:pt x="101" y="808"/>
                  </a:lnTo>
                  <a:lnTo>
                    <a:pt x="87" y="791"/>
                  </a:lnTo>
                  <a:lnTo>
                    <a:pt x="74" y="773"/>
                  </a:lnTo>
                  <a:lnTo>
                    <a:pt x="62" y="754"/>
                  </a:lnTo>
                  <a:lnTo>
                    <a:pt x="52" y="736"/>
                  </a:lnTo>
                  <a:lnTo>
                    <a:pt x="42" y="715"/>
                  </a:lnTo>
                  <a:lnTo>
                    <a:pt x="32" y="696"/>
                  </a:lnTo>
                  <a:lnTo>
                    <a:pt x="25" y="676"/>
                  </a:lnTo>
                  <a:lnTo>
                    <a:pt x="18" y="654"/>
                  </a:lnTo>
                  <a:lnTo>
                    <a:pt x="13" y="633"/>
                  </a:lnTo>
                  <a:lnTo>
                    <a:pt x="8" y="610"/>
                  </a:lnTo>
                  <a:lnTo>
                    <a:pt x="5" y="588"/>
                  </a:lnTo>
                  <a:lnTo>
                    <a:pt x="2" y="564"/>
                  </a:lnTo>
                  <a:lnTo>
                    <a:pt x="1" y="541"/>
                  </a:lnTo>
                  <a:lnTo>
                    <a:pt x="0" y="516"/>
                  </a:lnTo>
                  <a:lnTo>
                    <a:pt x="1" y="485"/>
                  </a:lnTo>
                  <a:lnTo>
                    <a:pt x="3" y="455"/>
                  </a:lnTo>
                  <a:lnTo>
                    <a:pt x="7" y="425"/>
                  </a:lnTo>
                  <a:lnTo>
                    <a:pt x="12" y="397"/>
                  </a:lnTo>
                  <a:lnTo>
                    <a:pt x="19" y="370"/>
                  </a:lnTo>
                  <a:lnTo>
                    <a:pt x="27" y="344"/>
                  </a:lnTo>
                  <a:lnTo>
                    <a:pt x="36" y="318"/>
                  </a:lnTo>
                  <a:lnTo>
                    <a:pt x="48" y="294"/>
                  </a:lnTo>
                  <a:lnTo>
                    <a:pt x="61" y="269"/>
                  </a:lnTo>
                  <a:lnTo>
                    <a:pt x="75" y="247"/>
                  </a:lnTo>
                  <a:lnTo>
                    <a:pt x="90" y="225"/>
                  </a:lnTo>
                  <a:lnTo>
                    <a:pt x="108" y="204"/>
                  </a:lnTo>
                  <a:lnTo>
                    <a:pt x="127" y="185"/>
                  </a:lnTo>
                  <a:lnTo>
                    <a:pt x="148" y="165"/>
                  </a:lnTo>
                  <a:lnTo>
                    <a:pt x="169" y="148"/>
                  </a:lnTo>
                  <a:lnTo>
                    <a:pt x="192" y="131"/>
                  </a:lnTo>
                  <a:lnTo>
                    <a:pt x="217" y="115"/>
                  </a:lnTo>
                  <a:lnTo>
                    <a:pt x="241" y="100"/>
                  </a:lnTo>
                  <a:lnTo>
                    <a:pt x="268" y="86"/>
                  </a:lnTo>
                  <a:lnTo>
                    <a:pt x="294" y="73"/>
                  </a:lnTo>
                  <a:lnTo>
                    <a:pt x="323" y="61"/>
                  </a:lnTo>
                  <a:lnTo>
                    <a:pt x="352" y="51"/>
                  </a:lnTo>
                  <a:lnTo>
                    <a:pt x="381" y="41"/>
                  </a:lnTo>
                  <a:lnTo>
                    <a:pt x="412" y="33"/>
                  </a:lnTo>
                  <a:lnTo>
                    <a:pt x="443" y="24"/>
                  </a:lnTo>
                  <a:lnTo>
                    <a:pt x="476" y="18"/>
                  </a:lnTo>
                  <a:lnTo>
                    <a:pt x="509" y="12"/>
                  </a:lnTo>
                  <a:lnTo>
                    <a:pt x="543" y="8"/>
                  </a:lnTo>
                  <a:lnTo>
                    <a:pt x="578" y="4"/>
                  </a:lnTo>
                  <a:lnTo>
                    <a:pt x="614" y="2"/>
                  </a:lnTo>
                  <a:lnTo>
                    <a:pt x="651" y="0"/>
                  </a:lnTo>
                  <a:lnTo>
                    <a:pt x="689" y="0"/>
                  </a:lnTo>
                  <a:lnTo>
                    <a:pt x="733" y="0"/>
                  </a:lnTo>
                  <a:lnTo>
                    <a:pt x="783" y="3"/>
                  </a:lnTo>
                  <a:lnTo>
                    <a:pt x="836" y="8"/>
                  </a:lnTo>
                  <a:lnTo>
                    <a:pt x="895" y="15"/>
                  </a:lnTo>
                  <a:lnTo>
                    <a:pt x="958" y="23"/>
                  </a:lnTo>
                  <a:lnTo>
                    <a:pt x="1027" y="35"/>
                  </a:lnTo>
                  <a:lnTo>
                    <a:pt x="1099" y="47"/>
                  </a:lnTo>
                  <a:lnTo>
                    <a:pt x="1177" y="61"/>
                  </a:lnTo>
                  <a:lnTo>
                    <a:pt x="1177" y="386"/>
                  </a:lnTo>
                  <a:lnTo>
                    <a:pt x="1147" y="374"/>
                  </a:lnTo>
                  <a:lnTo>
                    <a:pt x="1118" y="363"/>
                  </a:lnTo>
                  <a:lnTo>
                    <a:pt x="1089" y="353"/>
                  </a:lnTo>
                  <a:lnTo>
                    <a:pt x="1060" y="344"/>
                  </a:lnTo>
                  <a:lnTo>
                    <a:pt x="1032" y="336"/>
                  </a:lnTo>
                  <a:lnTo>
                    <a:pt x="1003" y="327"/>
                  </a:lnTo>
                  <a:lnTo>
                    <a:pt x="976" y="320"/>
                  </a:lnTo>
                  <a:lnTo>
                    <a:pt x="947" y="314"/>
                  </a:lnTo>
                  <a:lnTo>
                    <a:pt x="921" y="309"/>
                  </a:lnTo>
                  <a:lnTo>
                    <a:pt x="893" y="304"/>
                  </a:lnTo>
                  <a:lnTo>
                    <a:pt x="867" y="300"/>
                  </a:lnTo>
                  <a:lnTo>
                    <a:pt x="839" y="297"/>
                  </a:lnTo>
                  <a:lnTo>
                    <a:pt x="814" y="294"/>
                  </a:lnTo>
                  <a:lnTo>
                    <a:pt x="787" y="292"/>
                  </a:lnTo>
                  <a:lnTo>
                    <a:pt x="762" y="291"/>
                  </a:lnTo>
                  <a:lnTo>
                    <a:pt x="736" y="291"/>
                  </a:lnTo>
                  <a:lnTo>
                    <a:pt x="700" y="292"/>
                  </a:lnTo>
                  <a:lnTo>
                    <a:pt x="669" y="293"/>
                  </a:lnTo>
                  <a:lnTo>
                    <a:pt x="638" y="296"/>
                  </a:lnTo>
                  <a:lnTo>
                    <a:pt x="610" y="301"/>
                  </a:lnTo>
                  <a:lnTo>
                    <a:pt x="584" y="306"/>
                  </a:lnTo>
                  <a:lnTo>
                    <a:pt x="561" y="313"/>
                  </a:lnTo>
                  <a:lnTo>
                    <a:pt x="539" y="321"/>
                  </a:lnTo>
                  <a:lnTo>
                    <a:pt x="521" y="331"/>
                  </a:lnTo>
                  <a:lnTo>
                    <a:pt x="512" y="336"/>
                  </a:lnTo>
                  <a:lnTo>
                    <a:pt x="504" y="341"/>
                  </a:lnTo>
                  <a:lnTo>
                    <a:pt x="496" y="346"/>
                  </a:lnTo>
                  <a:lnTo>
                    <a:pt x="489" y="352"/>
                  </a:lnTo>
                  <a:lnTo>
                    <a:pt x="483" y="359"/>
                  </a:lnTo>
                  <a:lnTo>
                    <a:pt x="477" y="365"/>
                  </a:lnTo>
                  <a:lnTo>
                    <a:pt x="472" y="372"/>
                  </a:lnTo>
                  <a:lnTo>
                    <a:pt x="467" y="380"/>
                  </a:lnTo>
                  <a:lnTo>
                    <a:pt x="463" y="387"/>
                  </a:lnTo>
                  <a:lnTo>
                    <a:pt x="459" y="395"/>
                  </a:lnTo>
                  <a:lnTo>
                    <a:pt x="456" y="403"/>
                  </a:lnTo>
                  <a:lnTo>
                    <a:pt x="454" y="411"/>
                  </a:lnTo>
                  <a:lnTo>
                    <a:pt x="452" y="420"/>
                  </a:lnTo>
                  <a:lnTo>
                    <a:pt x="450" y="430"/>
                  </a:lnTo>
                  <a:lnTo>
                    <a:pt x="450" y="439"/>
                  </a:lnTo>
                  <a:lnTo>
                    <a:pt x="448" y="449"/>
                  </a:lnTo>
                  <a:lnTo>
                    <a:pt x="450" y="463"/>
                  </a:lnTo>
                  <a:lnTo>
                    <a:pt x="453" y="477"/>
                  </a:lnTo>
                  <a:lnTo>
                    <a:pt x="457" y="490"/>
                  </a:lnTo>
                  <a:lnTo>
                    <a:pt x="463" y="502"/>
                  </a:lnTo>
                  <a:lnTo>
                    <a:pt x="471" y="514"/>
                  </a:lnTo>
                  <a:lnTo>
                    <a:pt x="481" y="524"/>
                  </a:lnTo>
                  <a:lnTo>
                    <a:pt x="493" y="536"/>
                  </a:lnTo>
                  <a:lnTo>
                    <a:pt x="507" y="545"/>
                  </a:lnTo>
                  <a:lnTo>
                    <a:pt x="521" y="553"/>
                  </a:lnTo>
                  <a:lnTo>
                    <a:pt x="541" y="564"/>
                  </a:lnTo>
                  <a:lnTo>
                    <a:pt x="567" y="577"/>
                  </a:lnTo>
                  <a:lnTo>
                    <a:pt x="597" y="592"/>
                  </a:lnTo>
                  <a:lnTo>
                    <a:pt x="633" y="609"/>
                  </a:lnTo>
                  <a:lnTo>
                    <a:pt x="674" y="629"/>
                  </a:lnTo>
                  <a:lnTo>
                    <a:pt x="720" y="649"/>
                  </a:lnTo>
                  <a:lnTo>
                    <a:pt x="772" y="672"/>
                  </a:lnTo>
                  <a:lnTo>
                    <a:pt x="846" y="707"/>
                  </a:lnTo>
                  <a:lnTo>
                    <a:pt x="915" y="740"/>
                  </a:lnTo>
                  <a:lnTo>
                    <a:pt x="946" y="756"/>
                  </a:lnTo>
                  <a:lnTo>
                    <a:pt x="976" y="771"/>
                  </a:lnTo>
                  <a:lnTo>
                    <a:pt x="1004" y="787"/>
                  </a:lnTo>
                  <a:lnTo>
                    <a:pt x="1032" y="802"/>
                  </a:lnTo>
                  <a:lnTo>
                    <a:pt x="1056" y="817"/>
                  </a:lnTo>
                  <a:lnTo>
                    <a:pt x="1080" y="832"/>
                  </a:lnTo>
                  <a:lnTo>
                    <a:pt x="1102" y="846"/>
                  </a:lnTo>
                  <a:lnTo>
                    <a:pt x="1123" y="860"/>
                  </a:lnTo>
                  <a:lnTo>
                    <a:pt x="1141" y="875"/>
                  </a:lnTo>
                  <a:lnTo>
                    <a:pt x="1158" y="888"/>
                  </a:lnTo>
                  <a:lnTo>
                    <a:pt x="1174" y="901"/>
                  </a:lnTo>
                  <a:lnTo>
                    <a:pt x="1187" y="913"/>
                  </a:lnTo>
                  <a:lnTo>
                    <a:pt x="1202" y="930"/>
                  </a:lnTo>
                  <a:lnTo>
                    <a:pt x="1216" y="945"/>
                  </a:lnTo>
                  <a:lnTo>
                    <a:pt x="1229" y="962"/>
                  </a:lnTo>
                  <a:lnTo>
                    <a:pt x="1241" y="979"/>
                  </a:lnTo>
                  <a:lnTo>
                    <a:pt x="1252" y="997"/>
                  </a:lnTo>
                  <a:lnTo>
                    <a:pt x="1262" y="1015"/>
                  </a:lnTo>
                  <a:lnTo>
                    <a:pt x="1271" y="1034"/>
                  </a:lnTo>
                  <a:lnTo>
                    <a:pt x="1279" y="1053"/>
                  </a:lnTo>
                  <a:lnTo>
                    <a:pt x="1287" y="1074"/>
                  </a:lnTo>
                  <a:lnTo>
                    <a:pt x="1293" y="1094"/>
                  </a:lnTo>
                  <a:lnTo>
                    <a:pt x="1298" y="1114"/>
                  </a:lnTo>
                  <a:lnTo>
                    <a:pt x="1302" y="1137"/>
                  </a:lnTo>
                  <a:lnTo>
                    <a:pt x="1305" y="1158"/>
                  </a:lnTo>
                  <a:lnTo>
                    <a:pt x="1308" y="1182"/>
                  </a:lnTo>
                  <a:lnTo>
                    <a:pt x="1309" y="1204"/>
                  </a:lnTo>
                  <a:lnTo>
                    <a:pt x="1310" y="1229"/>
                  </a:lnTo>
                  <a:lnTo>
                    <a:pt x="1309" y="1262"/>
                  </a:lnTo>
                  <a:lnTo>
                    <a:pt x="1306" y="1296"/>
                  </a:lnTo>
                  <a:lnTo>
                    <a:pt x="1301" y="1328"/>
                  </a:lnTo>
                  <a:lnTo>
                    <a:pt x="1295" y="1358"/>
                  </a:lnTo>
                  <a:lnTo>
                    <a:pt x="1291" y="1374"/>
                  </a:lnTo>
                  <a:lnTo>
                    <a:pt x="1287" y="1389"/>
                  </a:lnTo>
                  <a:lnTo>
                    <a:pt x="1282" y="1403"/>
                  </a:lnTo>
                  <a:lnTo>
                    <a:pt x="1276" y="1418"/>
                  </a:lnTo>
                  <a:lnTo>
                    <a:pt x="1271"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8" y="1633"/>
                  </a:lnTo>
                  <a:lnTo>
                    <a:pt x="1069" y="1651"/>
                  </a:lnTo>
                  <a:lnTo>
                    <a:pt x="1044" y="1666"/>
                  </a:lnTo>
                  <a:lnTo>
                    <a:pt x="1019" y="1679"/>
                  </a:lnTo>
                  <a:lnTo>
                    <a:pt x="992" y="1691"/>
                  </a:lnTo>
                  <a:lnTo>
                    <a:pt x="965" y="1703"/>
                  </a:lnTo>
                  <a:lnTo>
                    <a:pt x="936" y="1714"/>
                  </a:lnTo>
                  <a:lnTo>
                    <a:pt x="906" y="1724"/>
                  </a:lnTo>
                  <a:lnTo>
                    <a:pt x="876" y="1732"/>
                  </a:lnTo>
                  <a:lnTo>
                    <a:pt x="845" y="1740"/>
                  </a:lnTo>
                  <a:lnTo>
                    <a:pt x="813" y="1747"/>
                  </a:lnTo>
                  <a:lnTo>
                    <a:pt x="780" y="1752"/>
                  </a:lnTo>
                  <a:lnTo>
                    <a:pt x="746" y="1757"/>
                  </a:lnTo>
                  <a:lnTo>
                    <a:pt x="712" y="1762"/>
                  </a:lnTo>
                  <a:lnTo>
                    <a:pt x="676" y="1766"/>
                  </a:lnTo>
                  <a:lnTo>
                    <a:pt x="639" y="1768"/>
                  </a:lnTo>
                  <a:lnTo>
                    <a:pt x="601" y="1769"/>
                  </a:lnTo>
                  <a:lnTo>
                    <a:pt x="563" y="1770"/>
                  </a:lnTo>
                  <a:lnTo>
                    <a:pt x="497" y="1769"/>
                  </a:lnTo>
                  <a:lnTo>
                    <a:pt x="431" y="1766"/>
                  </a:lnTo>
                  <a:lnTo>
                    <a:pt x="366" y="1761"/>
                  </a:lnTo>
                  <a:lnTo>
                    <a:pt x="300" y="1754"/>
                  </a:lnTo>
                  <a:lnTo>
                    <a:pt x="233" y="1745"/>
                  </a:lnTo>
                  <a:lnTo>
                    <a:pt x="167" y="1735"/>
                  </a:lnTo>
                  <a:lnTo>
                    <a:pt x="101"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7" name="Freeform 53"/>
            <p:cNvSpPr>
              <a:spLocks/>
            </p:cNvSpPr>
            <p:nvPr userDrawn="1"/>
          </p:nvSpPr>
          <p:spPr bwMode="auto">
            <a:xfrm>
              <a:off x="6294" y="350"/>
              <a:ext cx="39" cy="142"/>
            </a:xfrm>
            <a:custGeom>
              <a:avLst/>
              <a:gdLst>
                <a:gd name="T0" fmla="*/ 476 w 476"/>
                <a:gd name="T1" fmla="*/ 0 h 1706"/>
                <a:gd name="T2" fmla="*/ 476 w 476"/>
                <a:gd name="T3" fmla="*/ 1706 h 1706"/>
                <a:gd name="T4" fmla="*/ 0 w 476"/>
                <a:gd name="T5" fmla="*/ 1706 h 1706"/>
                <a:gd name="T6" fmla="*/ 0 w 476"/>
                <a:gd name="T7" fmla="*/ 0 h 1706"/>
                <a:gd name="T8" fmla="*/ 238 w 476"/>
                <a:gd name="T9" fmla="*/ 285 h 1706"/>
                <a:gd name="T10" fmla="*/ 476 w 476"/>
                <a:gd name="T11" fmla="*/ 0 h 1706"/>
              </a:gdLst>
              <a:ahLst/>
              <a:cxnLst>
                <a:cxn ang="0">
                  <a:pos x="T0" y="T1"/>
                </a:cxn>
                <a:cxn ang="0">
                  <a:pos x="T2" y="T3"/>
                </a:cxn>
                <a:cxn ang="0">
                  <a:pos x="T4" y="T5"/>
                </a:cxn>
                <a:cxn ang="0">
                  <a:pos x="T6" y="T7"/>
                </a:cxn>
                <a:cxn ang="0">
                  <a:pos x="T8" y="T9"/>
                </a:cxn>
                <a:cxn ang="0">
                  <a:pos x="T10" y="T11"/>
                </a:cxn>
              </a:cxnLst>
              <a:rect l="0" t="0" r="r" b="b"/>
              <a:pathLst>
                <a:path w="476" h="1706">
                  <a:moveTo>
                    <a:pt x="476" y="0"/>
                  </a:moveTo>
                  <a:lnTo>
                    <a:pt x="476" y="1706"/>
                  </a:lnTo>
                  <a:lnTo>
                    <a:pt x="0" y="1706"/>
                  </a:lnTo>
                  <a:lnTo>
                    <a:pt x="0" y="0"/>
                  </a:lnTo>
                  <a:lnTo>
                    <a:pt x="238" y="285"/>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8" name="Freeform 54"/>
            <p:cNvSpPr>
              <a:spLocks/>
            </p:cNvSpPr>
            <p:nvPr userDrawn="1"/>
          </p:nvSpPr>
          <p:spPr bwMode="auto">
            <a:xfrm>
              <a:off x="6294" y="350"/>
              <a:ext cx="39" cy="44"/>
            </a:xfrm>
            <a:custGeom>
              <a:avLst/>
              <a:gdLst>
                <a:gd name="T0" fmla="*/ 476 w 476"/>
                <a:gd name="T1" fmla="*/ 0 h 530"/>
                <a:gd name="T2" fmla="*/ 0 w 476"/>
                <a:gd name="T3" fmla="*/ 0 h 530"/>
                <a:gd name="T4" fmla="*/ 238 w 476"/>
                <a:gd name="T5" fmla="*/ 530 h 530"/>
                <a:gd name="T6" fmla="*/ 476 w 476"/>
                <a:gd name="T7" fmla="*/ 0 h 530"/>
              </a:gdLst>
              <a:ahLst/>
              <a:cxnLst>
                <a:cxn ang="0">
                  <a:pos x="T0" y="T1"/>
                </a:cxn>
                <a:cxn ang="0">
                  <a:pos x="T2" y="T3"/>
                </a:cxn>
                <a:cxn ang="0">
                  <a:pos x="T4" y="T5"/>
                </a:cxn>
                <a:cxn ang="0">
                  <a:pos x="T6" y="T7"/>
                </a:cxn>
              </a:cxnLst>
              <a:rect l="0" t="0" r="r" b="b"/>
              <a:pathLst>
                <a:path w="476" h="530">
                  <a:moveTo>
                    <a:pt x="476" y="0"/>
                  </a:moveTo>
                  <a:lnTo>
                    <a:pt x="0" y="0"/>
                  </a:lnTo>
                  <a:lnTo>
                    <a:pt x="238" y="530"/>
                  </a:lnTo>
                  <a:lnTo>
                    <a:pt x="476" y="0"/>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29" name="Freeform 55"/>
            <p:cNvSpPr>
              <a:spLocks/>
            </p:cNvSpPr>
            <p:nvPr userDrawn="1"/>
          </p:nvSpPr>
          <p:spPr bwMode="auto">
            <a:xfrm>
              <a:off x="6370" y="350"/>
              <a:ext cx="103" cy="142"/>
            </a:xfrm>
            <a:custGeom>
              <a:avLst/>
              <a:gdLst>
                <a:gd name="T0" fmla="*/ 0 w 1241"/>
                <a:gd name="T1" fmla="*/ 1706 h 1706"/>
                <a:gd name="T2" fmla="*/ 0 w 1241"/>
                <a:gd name="T3" fmla="*/ 0 h 1706"/>
                <a:gd name="T4" fmla="*/ 1222 w 1241"/>
                <a:gd name="T5" fmla="*/ 0 h 1706"/>
                <a:gd name="T6" fmla="*/ 1222 w 1241"/>
                <a:gd name="T7" fmla="*/ 309 h 1706"/>
                <a:gd name="T8" fmla="*/ 459 w 1241"/>
                <a:gd name="T9" fmla="*/ 309 h 1706"/>
                <a:gd name="T10" fmla="*/ 459 w 1241"/>
                <a:gd name="T11" fmla="*/ 693 h 1706"/>
                <a:gd name="T12" fmla="*/ 1123 w 1241"/>
                <a:gd name="T13" fmla="*/ 693 h 1706"/>
                <a:gd name="T14" fmla="*/ 1123 w 1241"/>
                <a:gd name="T15" fmla="*/ 975 h 1706"/>
                <a:gd name="T16" fmla="*/ 459 w 1241"/>
                <a:gd name="T17" fmla="*/ 975 h 1706"/>
                <a:gd name="T18" fmla="*/ 459 w 1241"/>
                <a:gd name="T19" fmla="*/ 1380 h 1706"/>
                <a:gd name="T20" fmla="*/ 1241 w 1241"/>
                <a:gd name="T21" fmla="*/ 1380 h 1706"/>
                <a:gd name="T22" fmla="*/ 1241 w 1241"/>
                <a:gd name="T23" fmla="*/ 1706 h 1706"/>
                <a:gd name="T24" fmla="*/ 0 w 1241"/>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1" h="1706">
                  <a:moveTo>
                    <a:pt x="0" y="1706"/>
                  </a:moveTo>
                  <a:lnTo>
                    <a:pt x="0" y="0"/>
                  </a:lnTo>
                  <a:lnTo>
                    <a:pt x="1222" y="0"/>
                  </a:lnTo>
                  <a:lnTo>
                    <a:pt x="1222" y="309"/>
                  </a:lnTo>
                  <a:lnTo>
                    <a:pt x="459" y="309"/>
                  </a:lnTo>
                  <a:lnTo>
                    <a:pt x="459" y="693"/>
                  </a:lnTo>
                  <a:lnTo>
                    <a:pt x="1123" y="693"/>
                  </a:lnTo>
                  <a:lnTo>
                    <a:pt x="1123" y="975"/>
                  </a:lnTo>
                  <a:lnTo>
                    <a:pt x="459" y="975"/>
                  </a:lnTo>
                  <a:lnTo>
                    <a:pt x="459" y="1380"/>
                  </a:lnTo>
                  <a:lnTo>
                    <a:pt x="1241" y="1380"/>
                  </a:lnTo>
                  <a:lnTo>
                    <a:pt x="1241"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30" name="Freeform 56"/>
            <p:cNvSpPr>
              <a:spLocks/>
            </p:cNvSpPr>
            <p:nvPr userDrawn="1"/>
          </p:nvSpPr>
          <p:spPr bwMode="auto">
            <a:xfrm>
              <a:off x="6499" y="350"/>
              <a:ext cx="173" cy="143"/>
            </a:xfrm>
            <a:custGeom>
              <a:avLst/>
              <a:gdLst>
                <a:gd name="T0" fmla="*/ 0 w 2073"/>
                <a:gd name="T1" fmla="*/ 1706 h 1723"/>
                <a:gd name="T2" fmla="*/ 0 w 2073"/>
                <a:gd name="T3" fmla="*/ 0 h 1723"/>
                <a:gd name="T4" fmla="*/ 617 w 2073"/>
                <a:gd name="T5" fmla="*/ 0 h 1723"/>
                <a:gd name="T6" fmla="*/ 1047 w 2073"/>
                <a:gd name="T7" fmla="*/ 1090 h 1723"/>
                <a:gd name="T8" fmla="*/ 1486 w 2073"/>
                <a:gd name="T9" fmla="*/ 0 h 1723"/>
                <a:gd name="T10" fmla="*/ 2073 w 2073"/>
                <a:gd name="T11" fmla="*/ 0 h 1723"/>
                <a:gd name="T12" fmla="*/ 2073 w 2073"/>
                <a:gd name="T13" fmla="*/ 1706 h 1723"/>
                <a:gd name="T14" fmla="*/ 1621 w 2073"/>
                <a:gd name="T15" fmla="*/ 1706 h 1723"/>
                <a:gd name="T16" fmla="*/ 1621 w 2073"/>
                <a:gd name="T17" fmla="*/ 499 h 1723"/>
                <a:gd name="T18" fmla="*/ 1121 w 2073"/>
                <a:gd name="T19" fmla="*/ 1723 h 1723"/>
                <a:gd name="T20" fmla="*/ 826 w 2073"/>
                <a:gd name="T21" fmla="*/ 1723 h 1723"/>
                <a:gd name="T22" fmla="*/ 336 w 2073"/>
                <a:gd name="T23" fmla="*/ 499 h 1723"/>
                <a:gd name="T24" fmla="*/ 336 w 2073"/>
                <a:gd name="T25" fmla="*/ 1706 h 1723"/>
                <a:gd name="T26" fmla="*/ 0 w 2073"/>
                <a:gd name="T27" fmla="*/ 1706 h 1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73" h="1723">
                  <a:moveTo>
                    <a:pt x="0" y="1706"/>
                  </a:moveTo>
                  <a:lnTo>
                    <a:pt x="0" y="0"/>
                  </a:lnTo>
                  <a:lnTo>
                    <a:pt x="617" y="0"/>
                  </a:lnTo>
                  <a:lnTo>
                    <a:pt x="1047" y="1090"/>
                  </a:lnTo>
                  <a:lnTo>
                    <a:pt x="1486" y="0"/>
                  </a:lnTo>
                  <a:lnTo>
                    <a:pt x="2073" y="0"/>
                  </a:lnTo>
                  <a:lnTo>
                    <a:pt x="2073" y="1706"/>
                  </a:lnTo>
                  <a:lnTo>
                    <a:pt x="1621" y="1706"/>
                  </a:lnTo>
                  <a:lnTo>
                    <a:pt x="1621" y="499"/>
                  </a:lnTo>
                  <a:lnTo>
                    <a:pt x="1121" y="1723"/>
                  </a:lnTo>
                  <a:lnTo>
                    <a:pt x="826" y="1723"/>
                  </a:lnTo>
                  <a:lnTo>
                    <a:pt x="336" y="499"/>
                  </a:lnTo>
                  <a:lnTo>
                    <a:pt x="336"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31" name="Freeform 57"/>
            <p:cNvSpPr>
              <a:spLocks/>
            </p:cNvSpPr>
            <p:nvPr userDrawn="1"/>
          </p:nvSpPr>
          <p:spPr bwMode="auto">
            <a:xfrm>
              <a:off x="6708" y="350"/>
              <a:ext cx="104" cy="142"/>
            </a:xfrm>
            <a:custGeom>
              <a:avLst/>
              <a:gdLst>
                <a:gd name="T0" fmla="*/ 0 w 1242"/>
                <a:gd name="T1" fmla="*/ 1706 h 1706"/>
                <a:gd name="T2" fmla="*/ 0 w 1242"/>
                <a:gd name="T3" fmla="*/ 0 h 1706"/>
                <a:gd name="T4" fmla="*/ 1221 w 1242"/>
                <a:gd name="T5" fmla="*/ 0 h 1706"/>
                <a:gd name="T6" fmla="*/ 1221 w 1242"/>
                <a:gd name="T7" fmla="*/ 309 h 1706"/>
                <a:gd name="T8" fmla="*/ 459 w 1242"/>
                <a:gd name="T9" fmla="*/ 309 h 1706"/>
                <a:gd name="T10" fmla="*/ 459 w 1242"/>
                <a:gd name="T11" fmla="*/ 693 h 1706"/>
                <a:gd name="T12" fmla="*/ 1123 w 1242"/>
                <a:gd name="T13" fmla="*/ 693 h 1706"/>
                <a:gd name="T14" fmla="*/ 1123 w 1242"/>
                <a:gd name="T15" fmla="*/ 975 h 1706"/>
                <a:gd name="T16" fmla="*/ 459 w 1242"/>
                <a:gd name="T17" fmla="*/ 975 h 1706"/>
                <a:gd name="T18" fmla="*/ 459 w 1242"/>
                <a:gd name="T19" fmla="*/ 1380 h 1706"/>
                <a:gd name="T20" fmla="*/ 1242 w 1242"/>
                <a:gd name="T21" fmla="*/ 1380 h 1706"/>
                <a:gd name="T22" fmla="*/ 1242 w 1242"/>
                <a:gd name="T23" fmla="*/ 1706 h 1706"/>
                <a:gd name="T24" fmla="*/ 0 w 1242"/>
                <a:gd name="T25"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2" h="1706">
                  <a:moveTo>
                    <a:pt x="0" y="1706"/>
                  </a:moveTo>
                  <a:lnTo>
                    <a:pt x="0" y="0"/>
                  </a:lnTo>
                  <a:lnTo>
                    <a:pt x="1221" y="0"/>
                  </a:lnTo>
                  <a:lnTo>
                    <a:pt x="1221" y="309"/>
                  </a:lnTo>
                  <a:lnTo>
                    <a:pt x="459" y="309"/>
                  </a:lnTo>
                  <a:lnTo>
                    <a:pt x="459" y="693"/>
                  </a:lnTo>
                  <a:lnTo>
                    <a:pt x="1123" y="693"/>
                  </a:lnTo>
                  <a:lnTo>
                    <a:pt x="1123" y="975"/>
                  </a:lnTo>
                  <a:lnTo>
                    <a:pt x="459" y="975"/>
                  </a:lnTo>
                  <a:lnTo>
                    <a:pt x="459" y="1380"/>
                  </a:lnTo>
                  <a:lnTo>
                    <a:pt x="1242" y="1380"/>
                  </a:lnTo>
                  <a:lnTo>
                    <a:pt x="1242"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32" name="Freeform 58"/>
            <p:cNvSpPr>
              <a:spLocks/>
            </p:cNvSpPr>
            <p:nvPr userDrawn="1"/>
          </p:nvSpPr>
          <p:spPr bwMode="auto">
            <a:xfrm>
              <a:off x="6838" y="350"/>
              <a:ext cx="123" cy="142"/>
            </a:xfrm>
            <a:custGeom>
              <a:avLst/>
              <a:gdLst>
                <a:gd name="T0" fmla="*/ 0 w 1473"/>
                <a:gd name="T1" fmla="*/ 1706 h 1706"/>
                <a:gd name="T2" fmla="*/ 0 w 1473"/>
                <a:gd name="T3" fmla="*/ 0 h 1706"/>
                <a:gd name="T4" fmla="*/ 551 w 1473"/>
                <a:gd name="T5" fmla="*/ 0 h 1706"/>
                <a:gd name="T6" fmla="*/ 1137 w 1473"/>
                <a:gd name="T7" fmla="*/ 1142 h 1706"/>
                <a:gd name="T8" fmla="*/ 1137 w 1473"/>
                <a:gd name="T9" fmla="*/ 0 h 1706"/>
                <a:gd name="T10" fmla="*/ 1473 w 1473"/>
                <a:gd name="T11" fmla="*/ 0 h 1706"/>
                <a:gd name="T12" fmla="*/ 1473 w 1473"/>
                <a:gd name="T13" fmla="*/ 1706 h 1706"/>
                <a:gd name="T14" fmla="*/ 936 w 1473"/>
                <a:gd name="T15" fmla="*/ 1706 h 1706"/>
                <a:gd name="T16" fmla="*/ 335 w 1473"/>
                <a:gd name="T17" fmla="*/ 549 h 1706"/>
                <a:gd name="T18" fmla="*/ 335 w 1473"/>
                <a:gd name="T19" fmla="*/ 1706 h 1706"/>
                <a:gd name="T20" fmla="*/ 0 w 1473"/>
                <a:gd name="T21" fmla="*/ 1706 h 1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73" h="1706">
                  <a:moveTo>
                    <a:pt x="0" y="1706"/>
                  </a:moveTo>
                  <a:lnTo>
                    <a:pt x="0" y="0"/>
                  </a:lnTo>
                  <a:lnTo>
                    <a:pt x="551" y="0"/>
                  </a:lnTo>
                  <a:lnTo>
                    <a:pt x="1137" y="1142"/>
                  </a:lnTo>
                  <a:lnTo>
                    <a:pt x="1137" y="0"/>
                  </a:lnTo>
                  <a:lnTo>
                    <a:pt x="1473" y="0"/>
                  </a:lnTo>
                  <a:lnTo>
                    <a:pt x="1473" y="1706"/>
                  </a:lnTo>
                  <a:lnTo>
                    <a:pt x="936" y="1706"/>
                  </a:lnTo>
                  <a:lnTo>
                    <a:pt x="335" y="549"/>
                  </a:lnTo>
                  <a:lnTo>
                    <a:pt x="335" y="1706"/>
                  </a:lnTo>
                  <a:lnTo>
                    <a:pt x="0" y="1706"/>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sp>
          <p:nvSpPr>
            <p:cNvPr id="33" name="Freeform 59"/>
            <p:cNvSpPr>
              <a:spLocks/>
            </p:cNvSpPr>
            <p:nvPr userDrawn="1"/>
          </p:nvSpPr>
          <p:spPr bwMode="auto">
            <a:xfrm>
              <a:off x="6986" y="347"/>
              <a:ext cx="109" cy="148"/>
            </a:xfrm>
            <a:custGeom>
              <a:avLst/>
              <a:gdLst>
                <a:gd name="T0" fmla="*/ 138 w 1309"/>
                <a:gd name="T1" fmla="*/ 1401 h 1770"/>
                <a:gd name="T2" fmla="*/ 303 w 1309"/>
                <a:gd name="T3" fmla="*/ 1438 h 1770"/>
                <a:gd name="T4" fmla="*/ 456 w 1309"/>
                <a:gd name="T5" fmla="*/ 1457 h 1770"/>
                <a:gd name="T6" fmla="*/ 615 w 1309"/>
                <a:gd name="T7" fmla="*/ 1458 h 1770"/>
                <a:gd name="T8" fmla="*/ 740 w 1309"/>
                <a:gd name="T9" fmla="*/ 1434 h 1770"/>
                <a:gd name="T10" fmla="*/ 790 w 1309"/>
                <a:gd name="T11" fmla="*/ 1409 h 1770"/>
                <a:gd name="T12" fmla="*/ 824 w 1309"/>
                <a:gd name="T13" fmla="*/ 1378 h 1770"/>
                <a:gd name="T14" fmla="*/ 843 w 1309"/>
                <a:gd name="T15" fmla="*/ 1337 h 1770"/>
                <a:gd name="T16" fmla="*/ 847 w 1309"/>
                <a:gd name="T17" fmla="*/ 1285 h 1770"/>
                <a:gd name="T18" fmla="*/ 824 w 1309"/>
                <a:gd name="T19" fmla="*/ 1220 h 1770"/>
                <a:gd name="T20" fmla="*/ 750 w 1309"/>
                <a:gd name="T21" fmla="*/ 1161 h 1770"/>
                <a:gd name="T22" fmla="*/ 571 w 1309"/>
                <a:gd name="T23" fmla="*/ 1078 h 1770"/>
                <a:gd name="T24" fmla="*/ 321 w 1309"/>
                <a:gd name="T25" fmla="*/ 965 h 1770"/>
                <a:gd name="T26" fmla="*/ 197 w 1309"/>
                <a:gd name="T27" fmla="*/ 893 h 1770"/>
                <a:gd name="T28" fmla="*/ 116 w 1309"/>
                <a:gd name="T29" fmla="*/ 826 h 1770"/>
                <a:gd name="T30" fmla="*/ 51 w 1309"/>
                <a:gd name="T31" fmla="*/ 736 h 1770"/>
                <a:gd name="T32" fmla="*/ 13 w 1309"/>
                <a:gd name="T33" fmla="*/ 633 h 1770"/>
                <a:gd name="T34" fmla="*/ 0 w 1309"/>
                <a:gd name="T35" fmla="*/ 515 h 1770"/>
                <a:gd name="T36" fmla="*/ 18 w 1309"/>
                <a:gd name="T37" fmla="*/ 369 h 1770"/>
                <a:gd name="T38" fmla="*/ 75 w 1309"/>
                <a:gd name="T39" fmla="*/ 247 h 1770"/>
                <a:gd name="T40" fmla="*/ 169 w 1309"/>
                <a:gd name="T41" fmla="*/ 148 h 1770"/>
                <a:gd name="T42" fmla="*/ 294 w 1309"/>
                <a:gd name="T43" fmla="*/ 73 h 1770"/>
                <a:gd name="T44" fmla="*/ 443 w 1309"/>
                <a:gd name="T45" fmla="*/ 24 h 1770"/>
                <a:gd name="T46" fmla="*/ 614 w 1309"/>
                <a:gd name="T47" fmla="*/ 2 h 1770"/>
                <a:gd name="T48" fmla="*/ 832 w 1309"/>
                <a:gd name="T49" fmla="*/ 7 h 1770"/>
                <a:gd name="T50" fmla="*/ 1134 w 1309"/>
                <a:gd name="T51" fmla="*/ 54 h 1770"/>
                <a:gd name="T52" fmla="*/ 1088 w 1309"/>
                <a:gd name="T53" fmla="*/ 353 h 1770"/>
                <a:gd name="T54" fmla="*/ 947 w 1309"/>
                <a:gd name="T55" fmla="*/ 314 h 1770"/>
                <a:gd name="T56" fmla="*/ 811 w 1309"/>
                <a:gd name="T57" fmla="*/ 294 h 1770"/>
                <a:gd name="T58" fmla="*/ 667 w 1309"/>
                <a:gd name="T59" fmla="*/ 293 h 1770"/>
                <a:gd name="T60" fmla="*/ 539 w 1309"/>
                <a:gd name="T61" fmla="*/ 321 h 1770"/>
                <a:gd name="T62" fmla="*/ 488 w 1309"/>
                <a:gd name="T63" fmla="*/ 352 h 1770"/>
                <a:gd name="T64" fmla="*/ 463 w 1309"/>
                <a:gd name="T65" fmla="*/ 387 h 1770"/>
                <a:gd name="T66" fmla="*/ 449 w 1309"/>
                <a:gd name="T67" fmla="*/ 430 h 1770"/>
                <a:gd name="T68" fmla="*/ 456 w 1309"/>
                <a:gd name="T69" fmla="*/ 490 h 1770"/>
                <a:gd name="T70" fmla="*/ 506 w 1309"/>
                <a:gd name="T71" fmla="*/ 545 h 1770"/>
                <a:gd name="T72" fmla="*/ 632 w 1309"/>
                <a:gd name="T73" fmla="*/ 608 h 1770"/>
                <a:gd name="T74" fmla="*/ 914 w 1309"/>
                <a:gd name="T75" fmla="*/ 740 h 1770"/>
                <a:gd name="T76" fmla="*/ 1101 w 1309"/>
                <a:gd name="T77" fmla="*/ 846 h 1770"/>
                <a:gd name="T78" fmla="*/ 1187 w 1309"/>
                <a:gd name="T79" fmla="*/ 913 h 1770"/>
                <a:gd name="T80" fmla="*/ 1251 w 1309"/>
                <a:gd name="T81" fmla="*/ 997 h 1770"/>
                <a:gd name="T82" fmla="*/ 1292 w 1309"/>
                <a:gd name="T83" fmla="*/ 1094 h 1770"/>
                <a:gd name="T84" fmla="*/ 1309 w 1309"/>
                <a:gd name="T85" fmla="*/ 1204 h 1770"/>
                <a:gd name="T86" fmla="*/ 1295 w 1309"/>
                <a:gd name="T87" fmla="*/ 1358 h 1770"/>
                <a:gd name="T88" fmla="*/ 1270 w 1309"/>
                <a:gd name="T89" fmla="*/ 1432 h 1770"/>
                <a:gd name="T90" fmla="*/ 1234 w 1309"/>
                <a:gd name="T91" fmla="*/ 1499 h 1770"/>
                <a:gd name="T92" fmla="*/ 1186 w 1309"/>
                <a:gd name="T93" fmla="*/ 1559 h 1770"/>
                <a:gd name="T94" fmla="*/ 1069 w 1309"/>
                <a:gd name="T95" fmla="*/ 1651 h 1770"/>
                <a:gd name="T96" fmla="*/ 936 w 1309"/>
                <a:gd name="T97" fmla="*/ 1714 h 1770"/>
                <a:gd name="T98" fmla="*/ 780 w 1309"/>
                <a:gd name="T99" fmla="*/ 1752 h 1770"/>
                <a:gd name="T100" fmla="*/ 601 w 1309"/>
                <a:gd name="T101" fmla="*/ 1769 h 1770"/>
                <a:gd name="T102" fmla="*/ 299 w 1309"/>
                <a:gd name="T103" fmla="*/ 1754 h 1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09" h="1770">
                  <a:moveTo>
                    <a:pt x="34" y="1707"/>
                  </a:moveTo>
                  <a:lnTo>
                    <a:pt x="34" y="1371"/>
                  </a:lnTo>
                  <a:lnTo>
                    <a:pt x="69" y="1382"/>
                  </a:lnTo>
                  <a:lnTo>
                    <a:pt x="105" y="1392"/>
                  </a:lnTo>
                  <a:lnTo>
                    <a:pt x="138" y="1401"/>
                  </a:lnTo>
                  <a:lnTo>
                    <a:pt x="173" y="1410"/>
                  </a:lnTo>
                  <a:lnTo>
                    <a:pt x="206" y="1419"/>
                  </a:lnTo>
                  <a:lnTo>
                    <a:pt x="239" y="1426"/>
                  </a:lnTo>
                  <a:lnTo>
                    <a:pt x="272" y="1432"/>
                  </a:lnTo>
                  <a:lnTo>
                    <a:pt x="303" y="1438"/>
                  </a:lnTo>
                  <a:lnTo>
                    <a:pt x="335" y="1444"/>
                  </a:lnTo>
                  <a:lnTo>
                    <a:pt x="366" y="1448"/>
                  </a:lnTo>
                  <a:lnTo>
                    <a:pt x="396" y="1452"/>
                  </a:lnTo>
                  <a:lnTo>
                    <a:pt x="427" y="1455"/>
                  </a:lnTo>
                  <a:lnTo>
                    <a:pt x="456" y="1457"/>
                  </a:lnTo>
                  <a:lnTo>
                    <a:pt x="486" y="1459"/>
                  </a:lnTo>
                  <a:lnTo>
                    <a:pt x="515" y="1460"/>
                  </a:lnTo>
                  <a:lnTo>
                    <a:pt x="542" y="1461"/>
                  </a:lnTo>
                  <a:lnTo>
                    <a:pt x="580" y="1460"/>
                  </a:lnTo>
                  <a:lnTo>
                    <a:pt x="615" y="1458"/>
                  </a:lnTo>
                  <a:lnTo>
                    <a:pt x="646" y="1455"/>
                  </a:lnTo>
                  <a:lnTo>
                    <a:pt x="676" y="1451"/>
                  </a:lnTo>
                  <a:lnTo>
                    <a:pt x="703" y="1445"/>
                  </a:lnTo>
                  <a:lnTo>
                    <a:pt x="729" y="1438"/>
                  </a:lnTo>
                  <a:lnTo>
                    <a:pt x="740" y="1434"/>
                  </a:lnTo>
                  <a:lnTo>
                    <a:pt x="751" y="1430"/>
                  </a:lnTo>
                  <a:lnTo>
                    <a:pt x="761" y="1426"/>
                  </a:lnTo>
                  <a:lnTo>
                    <a:pt x="772" y="1421"/>
                  </a:lnTo>
                  <a:lnTo>
                    <a:pt x="781" y="1416"/>
                  </a:lnTo>
                  <a:lnTo>
                    <a:pt x="790" y="1409"/>
                  </a:lnTo>
                  <a:lnTo>
                    <a:pt x="798" y="1404"/>
                  </a:lnTo>
                  <a:lnTo>
                    <a:pt x="805" y="1398"/>
                  </a:lnTo>
                  <a:lnTo>
                    <a:pt x="812" y="1391"/>
                  </a:lnTo>
                  <a:lnTo>
                    <a:pt x="819" y="1385"/>
                  </a:lnTo>
                  <a:lnTo>
                    <a:pt x="824" y="1378"/>
                  </a:lnTo>
                  <a:lnTo>
                    <a:pt x="829" y="1370"/>
                  </a:lnTo>
                  <a:lnTo>
                    <a:pt x="834" y="1362"/>
                  </a:lnTo>
                  <a:lnTo>
                    <a:pt x="837" y="1354"/>
                  </a:lnTo>
                  <a:lnTo>
                    <a:pt x="841" y="1346"/>
                  </a:lnTo>
                  <a:lnTo>
                    <a:pt x="843" y="1337"/>
                  </a:lnTo>
                  <a:lnTo>
                    <a:pt x="845" y="1329"/>
                  </a:lnTo>
                  <a:lnTo>
                    <a:pt x="847" y="1319"/>
                  </a:lnTo>
                  <a:lnTo>
                    <a:pt x="848" y="1309"/>
                  </a:lnTo>
                  <a:lnTo>
                    <a:pt x="848" y="1299"/>
                  </a:lnTo>
                  <a:lnTo>
                    <a:pt x="847" y="1285"/>
                  </a:lnTo>
                  <a:lnTo>
                    <a:pt x="845" y="1271"/>
                  </a:lnTo>
                  <a:lnTo>
                    <a:pt x="842" y="1257"/>
                  </a:lnTo>
                  <a:lnTo>
                    <a:pt x="837" y="1244"/>
                  </a:lnTo>
                  <a:lnTo>
                    <a:pt x="831" y="1232"/>
                  </a:lnTo>
                  <a:lnTo>
                    <a:pt x="824" y="1220"/>
                  </a:lnTo>
                  <a:lnTo>
                    <a:pt x="814" y="1208"/>
                  </a:lnTo>
                  <a:lnTo>
                    <a:pt x="805" y="1198"/>
                  </a:lnTo>
                  <a:lnTo>
                    <a:pt x="791" y="1187"/>
                  </a:lnTo>
                  <a:lnTo>
                    <a:pt x="773" y="1175"/>
                  </a:lnTo>
                  <a:lnTo>
                    <a:pt x="750" y="1161"/>
                  </a:lnTo>
                  <a:lnTo>
                    <a:pt x="724" y="1146"/>
                  </a:lnTo>
                  <a:lnTo>
                    <a:pt x="692" y="1131"/>
                  </a:lnTo>
                  <a:lnTo>
                    <a:pt x="655" y="1114"/>
                  </a:lnTo>
                  <a:lnTo>
                    <a:pt x="616" y="1096"/>
                  </a:lnTo>
                  <a:lnTo>
                    <a:pt x="571" y="1078"/>
                  </a:lnTo>
                  <a:lnTo>
                    <a:pt x="490" y="1044"/>
                  </a:lnTo>
                  <a:lnTo>
                    <a:pt x="417" y="1011"/>
                  </a:lnTo>
                  <a:lnTo>
                    <a:pt x="383" y="996"/>
                  </a:lnTo>
                  <a:lnTo>
                    <a:pt x="351" y="980"/>
                  </a:lnTo>
                  <a:lnTo>
                    <a:pt x="321" y="965"/>
                  </a:lnTo>
                  <a:lnTo>
                    <a:pt x="293" y="950"/>
                  </a:lnTo>
                  <a:lnTo>
                    <a:pt x="267" y="936"/>
                  </a:lnTo>
                  <a:lnTo>
                    <a:pt x="241" y="922"/>
                  </a:lnTo>
                  <a:lnTo>
                    <a:pt x="219" y="907"/>
                  </a:lnTo>
                  <a:lnTo>
                    <a:pt x="197" y="893"/>
                  </a:lnTo>
                  <a:lnTo>
                    <a:pt x="178" y="880"/>
                  </a:lnTo>
                  <a:lnTo>
                    <a:pt x="161" y="866"/>
                  </a:lnTo>
                  <a:lnTo>
                    <a:pt x="145" y="854"/>
                  </a:lnTo>
                  <a:lnTo>
                    <a:pt x="131" y="842"/>
                  </a:lnTo>
                  <a:lnTo>
                    <a:pt x="116" y="826"/>
                  </a:lnTo>
                  <a:lnTo>
                    <a:pt x="100" y="808"/>
                  </a:lnTo>
                  <a:lnTo>
                    <a:pt x="86" y="791"/>
                  </a:lnTo>
                  <a:lnTo>
                    <a:pt x="74" y="774"/>
                  </a:lnTo>
                  <a:lnTo>
                    <a:pt x="62" y="755"/>
                  </a:lnTo>
                  <a:lnTo>
                    <a:pt x="51" y="736"/>
                  </a:lnTo>
                  <a:lnTo>
                    <a:pt x="41" y="716"/>
                  </a:lnTo>
                  <a:lnTo>
                    <a:pt x="32" y="696"/>
                  </a:lnTo>
                  <a:lnTo>
                    <a:pt x="25" y="676"/>
                  </a:lnTo>
                  <a:lnTo>
                    <a:pt x="18" y="654"/>
                  </a:lnTo>
                  <a:lnTo>
                    <a:pt x="13" y="633"/>
                  </a:lnTo>
                  <a:lnTo>
                    <a:pt x="8" y="610"/>
                  </a:lnTo>
                  <a:lnTo>
                    <a:pt x="4" y="587"/>
                  </a:lnTo>
                  <a:lnTo>
                    <a:pt x="2" y="563"/>
                  </a:lnTo>
                  <a:lnTo>
                    <a:pt x="0" y="540"/>
                  </a:lnTo>
                  <a:lnTo>
                    <a:pt x="0" y="515"/>
                  </a:lnTo>
                  <a:lnTo>
                    <a:pt x="1" y="484"/>
                  </a:lnTo>
                  <a:lnTo>
                    <a:pt x="3" y="454"/>
                  </a:lnTo>
                  <a:lnTo>
                    <a:pt x="7" y="424"/>
                  </a:lnTo>
                  <a:lnTo>
                    <a:pt x="12" y="397"/>
                  </a:lnTo>
                  <a:lnTo>
                    <a:pt x="18" y="369"/>
                  </a:lnTo>
                  <a:lnTo>
                    <a:pt x="26" y="343"/>
                  </a:lnTo>
                  <a:lnTo>
                    <a:pt x="36" y="317"/>
                  </a:lnTo>
                  <a:lnTo>
                    <a:pt x="47" y="293"/>
                  </a:lnTo>
                  <a:lnTo>
                    <a:pt x="61" y="269"/>
                  </a:lnTo>
                  <a:lnTo>
                    <a:pt x="75" y="247"/>
                  </a:lnTo>
                  <a:lnTo>
                    <a:pt x="90" y="225"/>
                  </a:lnTo>
                  <a:lnTo>
                    <a:pt x="108" y="204"/>
                  </a:lnTo>
                  <a:lnTo>
                    <a:pt x="127" y="185"/>
                  </a:lnTo>
                  <a:lnTo>
                    <a:pt x="146" y="165"/>
                  </a:lnTo>
                  <a:lnTo>
                    <a:pt x="169" y="148"/>
                  </a:lnTo>
                  <a:lnTo>
                    <a:pt x="192" y="131"/>
                  </a:lnTo>
                  <a:lnTo>
                    <a:pt x="217" y="115"/>
                  </a:lnTo>
                  <a:lnTo>
                    <a:pt x="241" y="100"/>
                  </a:lnTo>
                  <a:lnTo>
                    <a:pt x="268" y="86"/>
                  </a:lnTo>
                  <a:lnTo>
                    <a:pt x="294" y="73"/>
                  </a:lnTo>
                  <a:lnTo>
                    <a:pt x="322" y="61"/>
                  </a:lnTo>
                  <a:lnTo>
                    <a:pt x="351" y="51"/>
                  </a:lnTo>
                  <a:lnTo>
                    <a:pt x="381" y="41"/>
                  </a:lnTo>
                  <a:lnTo>
                    <a:pt x="412" y="33"/>
                  </a:lnTo>
                  <a:lnTo>
                    <a:pt x="443" y="24"/>
                  </a:lnTo>
                  <a:lnTo>
                    <a:pt x="475" y="18"/>
                  </a:lnTo>
                  <a:lnTo>
                    <a:pt x="508" y="12"/>
                  </a:lnTo>
                  <a:lnTo>
                    <a:pt x="543" y="8"/>
                  </a:lnTo>
                  <a:lnTo>
                    <a:pt x="578" y="4"/>
                  </a:lnTo>
                  <a:lnTo>
                    <a:pt x="614" y="2"/>
                  </a:lnTo>
                  <a:lnTo>
                    <a:pt x="650" y="0"/>
                  </a:lnTo>
                  <a:lnTo>
                    <a:pt x="688" y="0"/>
                  </a:lnTo>
                  <a:lnTo>
                    <a:pt x="733" y="0"/>
                  </a:lnTo>
                  <a:lnTo>
                    <a:pt x="781" y="3"/>
                  </a:lnTo>
                  <a:lnTo>
                    <a:pt x="832" y="7"/>
                  </a:lnTo>
                  <a:lnTo>
                    <a:pt x="886" y="13"/>
                  </a:lnTo>
                  <a:lnTo>
                    <a:pt x="943" y="20"/>
                  </a:lnTo>
                  <a:lnTo>
                    <a:pt x="1004" y="30"/>
                  </a:lnTo>
                  <a:lnTo>
                    <a:pt x="1067" y="42"/>
                  </a:lnTo>
                  <a:lnTo>
                    <a:pt x="1134" y="54"/>
                  </a:lnTo>
                  <a:lnTo>
                    <a:pt x="1177" y="61"/>
                  </a:lnTo>
                  <a:lnTo>
                    <a:pt x="1177" y="386"/>
                  </a:lnTo>
                  <a:lnTo>
                    <a:pt x="1147" y="374"/>
                  </a:lnTo>
                  <a:lnTo>
                    <a:pt x="1117" y="363"/>
                  </a:lnTo>
                  <a:lnTo>
                    <a:pt x="1088" y="353"/>
                  </a:lnTo>
                  <a:lnTo>
                    <a:pt x="1059" y="344"/>
                  </a:lnTo>
                  <a:lnTo>
                    <a:pt x="1031" y="336"/>
                  </a:lnTo>
                  <a:lnTo>
                    <a:pt x="1003" y="327"/>
                  </a:lnTo>
                  <a:lnTo>
                    <a:pt x="975" y="320"/>
                  </a:lnTo>
                  <a:lnTo>
                    <a:pt x="947" y="314"/>
                  </a:lnTo>
                  <a:lnTo>
                    <a:pt x="920" y="309"/>
                  </a:lnTo>
                  <a:lnTo>
                    <a:pt x="892" y="304"/>
                  </a:lnTo>
                  <a:lnTo>
                    <a:pt x="865" y="300"/>
                  </a:lnTo>
                  <a:lnTo>
                    <a:pt x="838" y="297"/>
                  </a:lnTo>
                  <a:lnTo>
                    <a:pt x="811" y="294"/>
                  </a:lnTo>
                  <a:lnTo>
                    <a:pt x="786" y="292"/>
                  </a:lnTo>
                  <a:lnTo>
                    <a:pt x="759" y="291"/>
                  </a:lnTo>
                  <a:lnTo>
                    <a:pt x="734" y="291"/>
                  </a:lnTo>
                  <a:lnTo>
                    <a:pt x="699" y="292"/>
                  </a:lnTo>
                  <a:lnTo>
                    <a:pt x="667" y="293"/>
                  </a:lnTo>
                  <a:lnTo>
                    <a:pt x="637" y="296"/>
                  </a:lnTo>
                  <a:lnTo>
                    <a:pt x="609" y="301"/>
                  </a:lnTo>
                  <a:lnTo>
                    <a:pt x="583" y="306"/>
                  </a:lnTo>
                  <a:lnTo>
                    <a:pt x="559" y="313"/>
                  </a:lnTo>
                  <a:lnTo>
                    <a:pt x="539" y="321"/>
                  </a:lnTo>
                  <a:lnTo>
                    <a:pt x="520" y="331"/>
                  </a:lnTo>
                  <a:lnTo>
                    <a:pt x="512" y="336"/>
                  </a:lnTo>
                  <a:lnTo>
                    <a:pt x="503" y="341"/>
                  </a:lnTo>
                  <a:lnTo>
                    <a:pt x="495" y="346"/>
                  </a:lnTo>
                  <a:lnTo>
                    <a:pt x="488" y="352"/>
                  </a:lnTo>
                  <a:lnTo>
                    <a:pt x="482" y="359"/>
                  </a:lnTo>
                  <a:lnTo>
                    <a:pt x="476" y="365"/>
                  </a:lnTo>
                  <a:lnTo>
                    <a:pt x="471" y="372"/>
                  </a:lnTo>
                  <a:lnTo>
                    <a:pt x="467" y="380"/>
                  </a:lnTo>
                  <a:lnTo>
                    <a:pt x="463" y="387"/>
                  </a:lnTo>
                  <a:lnTo>
                    <a:pt x="459" y="395"/>
                  </a:lnTo>
                  <a:lnTo>
                    <a:pt x="455" y="403"/>
                  </a:lnTo>
                  <a:lnTo>
                    <a:pt x="453" y="411"/>
                  </a:lnTo>
                  <a:lnTo>
                    <a:pt x="451" y="420"/>
                  </a:lnTo>
                  <a:lnTo>
                    <a:pt x="449" y="430"/>
                  </a:lnTo>
                  <a:lnTo>
                    <a:pt x="448" y="439"/>
                  </a:lnTo>
                  <a:lnTo>
                    <a:pt x="448" y="449"/>
                  </a:lnTo>
                  <a:lnTo>
                    <a:pt x="449" y="463"/>
                  </a:lnTo>
                  <a:lnTo>
                    <a:pt x="452" y="477"/>
                  </a:lnTo>
                  <a:lnTo>
                    <a:pt x="456" y="490"/>
                  </a:lnTo>
                  <a:lnTo>
                    <a:pt x="463" y="502"/>
                  </a:lnTo>
                  <a:lnTo>
                    <a:pt x="471" y="514"/>
                  </a:lnTo>
                  <a:lnTo>
                    <a:pt x="481" y="524"/>
                  </a:lnTo>
                  <a:lnTo>
                    <a:pt x="492" y="536"/>
                  </a:lnTo>
                  <a:lnTo>
                    <a:pt x="506" y="545"/>
                  </a:lnTo>
                  <a:lnTo>
                    <a:pt x="521" y="553"/>
                  </a:lnTo>
                  <a:lnTo>
                    <a:pt x="540" y="564"/>
                  </a:lnTo>
                  <a:lnTo>
                    <a:pt x="565" y="577"/>
                  </a:lnTo>
                  <a:lnTo>
                    <a:pt x="595" y="592"/>
                  </a:lnTo>
                  <a:lnTo>
                    <a:pt x="632" y="608"/>
                  </a:lnTo>
                  <a:lnTo>
                    <a:pt x="673" y="628"/>
                  </a:lnTo>
                  <a:lnTo>
                    <a:pt x="720" y="649"/>
                  </a:lnTo>
                  <a:lnTo>
                    <a:pt x="773" y="672"/>
                  </a:lnTo>
                  <a:lnTo>
                    <a:pt x="846" y="707"/>
                  </a:lnTo>
                  <a:lnTo>
                    <a:pt x="914" y="740"/>
                  </a:lnTo>
                  <a:lnTo>
                    <a:pt x="976" y="771"/>
                  </a:lnTo>
                  <a:lnTo>
                    <a:pt x="1031" y="802"/>
                  </a:lnTo>
                  <a:lnTo>
                    <a:pt x="1056" y="817"/>
                  </a:lnTo>
                  <a:lnTo>
                    <a:pt x="1080" y="832"/>
                  </a:lnTo>
                  <a:lnTo>
                    <a:pt x="1101" y="846"/>
                  </a:lnTo>
                  <a:lnTo>
                    <a:pt x="1122" y="860"/>
                  </a:lnTo>
                  <a:lnTo>
                    <a:pt x="1140" y="875"/>
                  </a:lnTo>
                  <a:lnTo>
                    <a:pt x="1157" y="888"/>
                  </a:lnTo>
                  <a:lnTo>
                    <a:pt x="1173" y="901"/>
                  </a:lnTo>
                  <a:lnTo>
                    <a:pt x="1187" y="913"/>
                  </a:lnTo>
                  <a:lnTo>
                    <a:pt x="1201" y="930"/>
                  </a:lnTo>
                  <a:lnTo>
                    <a:pt x="1215" y="945"/>
                  </a:lnTo>
                  <a:lnTo>
                    <a:pt x="1229" y="962"/>
                  </a:lnTo>
                  <a:lnTo>
                    <a:pt x="1241" y="979"/>
                  </a:lnTo>
                  <a:lnTo>
                    <a:pt x="1251" y="997"/>
                  </a:lnTo>
                  <a:lnTo>
                    <a:pt x="1261" y="1015"/>
                  </a:lnTo>
                  <a:lnTo>
                    <a:pt x="1270" y="1034"/>
                  </a:lnTo>
                  <a:lnTo>
                    <a:pt x="1279" y="1053"/>
                  </a:lnTo>
                  <a:lnTo>
                    <a:pt x="1286" y="1074"/>
                  </a:lnTo>
                  <a:lnTo>
                    <a:pt x="1292" y="1094"/>
                  </a:lnTo>
                  <a:lnTo>
                    <a:pt x="1298" y="1114"/>
                  </a:lnTo>
                  <a:lnTo>
                    <a:pt x="1302" y="1137"/>
                  </a:lnTo>
                  <a:lnTo>
                    <a:pt x="1305" y="1158"/>
                  </a:lnTo>
                  <a:lnTo>
                    <a:pt x="1307" y="1182"/>
                  </a:lnTo>
                  <a:lnTo>
                    <a:pt x="1309" y="1204"/>
                  </a:lnTo>
                  <a:lnTo>
                    <a:pt x="1309" y="1229"/>
                  </a:lnTo>
                  <a:lnTo>
                    <a:pt x="1308" y="1262"/>
                  </a:lnTo>
                  <a:lnTo>
                    <a:pt x="1306" y="1296"/>
                  </a:lnTo>
                  <a:lnTo>
                    <a:pt x="1301" y="1328"/>
                  </a:lnTo>
                  <a:lnTo>
                    <a:pt x="1295" y="1358"/>
                  </a:lnTo>
                  <a:lnTo>
                    <a:pt x="1291" y="1374"/>
                  </a:lnTo>
                  <a:lnTo>
                    <a:pt x="1286" y="1389"/>
                  </a:lnTo>
                  <a:lnTo>
                    <a:pt x="1282" y="1403"/>
                  </a:lnTo>
                  <a:lnTo>
                    <a:pt x="1276" y="1418"/>
                  </a:lnTo>
                  <a:lnTo>
                    <a:pt x="1270" y="1432"/>
                  </a:lnTo>
                  <a:lnTo>
                    <a:pt x="1263" y="1446"/>
                  </a:lnTo>
                  <a:lnTo>
                    <a:pt x="1257" y="1459"/>
                  </a:lnTo>
                  <a:lnTo>
                    <a:pt x="1250" y="1473"/>
                  </a:lnTo>
                  <a:lnTo>
                    <a:pt x="1242" y="1486"/>
                  </a:lnTo>
                  <a:lnTo>
                    <a:pt x="1234" y="1499"/>
                  </a:lnTo>
                  <a:lnTo>
                    <a:pt x="1225" y="1511"/>
                  </a:lnTo>
                  <a:lnTo>
                    <a:pt x="1216" y="1524"/>
                  </a:lnTo>
                  <a:lnTo>
                    <a:pt x="1206" y="1536"/>
                  </a:lnTo>
                  <a:lnTo>
                    <a:pt x="1196" y="1547"/>
                  </a:lnTo>
                  <a:lnTo>
                    <a:pt x="1186" y="1559"/>
                  </a:lnTo>
                  <a:lnTo>
                    <a:pt x="1175" y="1571"/>
                  </a:lnTo>
                  <a:lnTo>
                    <a:pt x="1151" y="1592"/>
                  </a:lnTo>
                  <a:lnTo>
                    <a:pt x="1126" y="1613"/>
                  </a:lnTo>
                  <a:lnTo>
                    <a:pt x="1099" y="1633"/>
                  </a:lnTo>
                  <a:lnTo>
                    <a:pt x="1069" y="1651"/>
                  </a:lnTo>
                  <a:lnTo>
                    <a:pt x="1045" y="1666"/>
                  </a:lnTo>
                  <a:lnTo>
                    <a:pt x="1018" y="1679"/>
                  </a:lnTo>
                  <a:lnTo>
                    <a:pt x="992" y="1691"/>
                  </a:lnTo>
                  <a:lnTo>
                    <a:pt x="964" y="1703"/>
                  </a:lnTo>
                  <a:lnTo>
                    <a:pt x="936" y="1714"/>
                  </a:lnTo>
                  <a:lnTo>
                    <a:pt x="906" y="1724"/>
                  </a:lnTo>
                  <a:lnTo>
                    <a:pt x="876" y="1732"/>
                  </a:lnTo>
                  <a:lnTo>
                    <a:pt x="845" y="1740"/>
                  </a:lnTo>
                  <a:lnTo>
                    <a:pt x="812" y="1747"/>
                  </a:lnTo>
                  <a:lnTo>
                    <a:pt x="780" y="1752"/>
                  </a:lnTo>
                  <a:lnTo>
                    <a:pt x="746" y="1757"/>
                  </a:lnTo>
                  <a:lnTo>
                    <a:pt x="710" y="1762"/>
                  </a:lnTo>
                  <a:lnTo>
                    <a:pt x="675" y="1766"/>
                  </a:lnTo>
                  <a:lnTo>
                    <a:pt x="639" y="1768"/>
                  </a:lnTo>
                  <a:lnTo>
                    <a:pt x="601" y="1769"/>
                  </a:lnTo>
                  <a:lnTo>
                    <a:pt x="563" y="1770"/>
                  </a:lnTo>
                  <a:lnTo>
                    <a:pt x="497" y="1769"/>
                  </a:lnTo>
                  <a:lnTo>
                    <a:pt x="431" y="1766"/>
                  </a:lnTo>
                  <a:lnTo>
                    <a:pt x="365" y="1761"/>
                  </a:lnTo>
                  <a:lnTo>
                    <a:pt x="299" y="1754"/>
                  </a:lnTo>
                  <a:lnTo>
                    <a:pt x="233" y="1745"/>
                  </a:lnTo>
                  <a:lnTo>
                    <a:pt x="167" y="1735"/>
                  </a:lnTo>
                  <a:lnTo>
                    <a:pt x="100" y="1722"/>
                  </a:lnTo>
                  <a:lnTo>
                    <a:pt x="34" y="1707"/>
                  </a:lnTo>
                  <a:close/>
                </a:path>
              </a:pathLst>
            </a:custGeom>
            <a:solidFill>
              <a:srgbClr val="0099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3943" eaLnBrk="1" fontAlgn="auto" latinLnBrk="0" hangingPunct="1">
                <a:lnSpc>
                  <a:spcPct val="100000"/>
                </a:lnSpc>
                <a:spcBef>
                  <a:spcPts val="0"/>
                </a:spcBef>
                <a:spcAft>
                  <a:spcPts val="0"/>
                </a:spcAft>
                <a:buClrTx/>
                <a:buSzTx/>
                <a:buFontTx/>
                <a:buNone/>
                <a:tabLst/>
                <a:defRPr/>
              </a:pPr>
              <a:endParaRPr kumimoji="0" lang="fr-FR" sz="1799" b="0" i="0" u="none" strike="noStrike" kern="0" cap="none" spc="0" normalizeH="0" baseline="0" noProof="0">
                <a:ln>
                  <a:noFill/>
                </a:ln>
                <a:solidFill>
                  <a:sysClr val="windowText" lastClr="000000"/>
                </a:solidFill>
                <a:effectLst/>
                <a:uLnTx/>
                <a:uFillTx/>
              </a:endParaRPr>
            </a:p>
          </p:txBody>
        </p:sp>
      </p:grpSp>
    </p:spTree>
    <p:custDataLst>
      <p:custData r:id="rId1"/>
    </p:custDataLst>
    <p:extLst>
      <p:ext uri="{BB962C8B-B14F-4D97-AF65-F5344CB8AC3E}">
        <p14:creationId xmlns:p14="http://schemas.microsoft.com/office/powerpoint/2010/main" val="32012227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hree columns" userDrawn="1">
  <p:cSld name="1_Three columns">
    <p:spTree>
      <p:nvGrpSpPr>
        <p:cNvPr id="1" name=""/>
        <p:cNvGrpSpPr/>
        <p:nvPr/>
      </p:nvGrpSpPr>
      <p:grpSpPr>
        <a:xfrm>
          <a:off x="0" y="0"/>
          <a:ext cx="0" cy="0"/>
          <a:chOff x="0" y="0"/>
          <a:chExt cx="0" cy="0"/>
        </a:xfrm>
      </p:grpSpPr>
      <p:sp>
        <p:nvSpPr>
          <p:cNvPr id="2" name="cdtTitle 1 Id2"/>
          <p:cNvSpPr>
            <a:spLocks noGrp="1"/>
          </p:cNvSpPr>
          <p:nvPr>
            <p:ph type="title"/>
            <p:custDataLst>
              <p:tags r:id="rId2"/>
            </p:custDataLst>
          </p:nvPr>
        </p:nvSpPr>
        <p:spPr>
          <a:xfrm>
            <a:off x="0" y="-1"/>
            <a:ext cx="12192000" cy="1440000"/>
          </a:xfrm>
          <a:noFill/>
          <a:ln w="9525">
            <a:noFill/>
            <a:miter lim="800000"/>
            <a:headEnd/>
            <a:tailEnd/>
          </a:ln>
        </p:spPr>
        <p:txBody>
          <a:bodyPr vert="horz" wrap="square" lIns="626400" tIns="432000" rIns="3384000" bIns="234000" numCol="1" anchor="t" anchorCtr="0" compatLnSpc="1">
            <a:prstTxWarp prst="textNoShape">
              <a:avLst/>
            </a:prstTxWarp>
          </a:bodyPr>
          <a:lstStyle>
            <a:lvl1pPr>
              <a:defRPr lang="en-US" noProof="0" dirty="0"/>
            </a:lvl1pPr>
          </a:lstStyle>
          <a:p>
            <a:pPr lvl="0"/>
            <a:r>
              <a:rPr lang="en-US" noProof="0"/>
              <a:t>Click to edit Master title style</a:t>
            </a:r>
          </a:p>
        </p:txBody>
      </p:sp>
      <p:sp>
        <p:nvSpPr>
          <p:cNvPr id="3" name="cdtContent Placeholder 2 Id3"/>
          <p:cNvSpPr>
            <a:spLocks noGrp="1"/>
          </p:cNvSpPr>
          <p:nvPr>
            <p:ph idx="1"/>
            <p:custDataLst>
              <p:tags r:id="rId3"/>
            </p:custDataLst>
          </p:nvPr>
        </p:nvSpPr>
        <p:spPr>
          <a:xfrm>
            <a:off x="626736" y="1443038"/>
            <a:ext cx="3598576" cy="47489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dtContent Placeholder 12 Id13"/>
          <p:cNvSpPr>
            <a:spLocks noGrp="1"/>
          </p:cNvSpPr>
          <p:nvPr>
            <p:ph sz="quarter" idx="13"/>
            <p:custDataLst>
              <p:tags r:id="rId4"/>
            </p:custDataLst>
          </p:nvPr>
        </p:nvSpPr>
        <p:spPr>
          <a:xfrm>
            <a:off x="4368113" y="1443038"/>
            <a:ext cx="3598126" cy="47489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cdtContent Placeholder 11 Id12"/>
          <p:cNvSpPr>
            <a:spLocks noGrp="1"/>
          </p:cNvSpPr>
          <p:nvPr>
            <p:ph sz="quarter" idx="14"/>
            <p:custDataLst>
              <p:tags r:id="rId5"/>
            </p:custDataLst>
          </p:nvPr>
        </p:nvSpPr>
        <p:spPr>
          <a:xfrm>
            <a:off x="8111525" y="1443038"/>
            <a:ext cx="3598126" cy="474896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custDataLst>
      <p:custData r:id="rId1"/>
    </p:custDataLst>
    <p:extLst>
      <p:ext uri="{BB962C8B-B14F-4D97-AF65-F5344CB8AC3E}">
        <p14:creationId xmlns:p14="http://schemas.microsoft.com/office/powerpoint/2010/main" val="21056586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Single large imag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p>
        </p:txBody>
      </p:sp>
      <p:sp>
        <p:nvSpPr>
          <p:cNvPr id="4" name="Bildplatzhalter 3"/>
          <p:cNvSpPr>
            <a:spLocks noGrp="1"/>
          </p:cNvSpPr>
          <p:nvPr>
            <p:ph type="pic" sz="quarter" idx="10"/>
          </p:nvPr>
        </p:nvSpPr>
        <p:spPr>
          <a:xfrm>
            <a:off x="0" y="1440000"/>
            <a:ext cx="12197647" cy="4752000"/>
          </a:xfrm>
        </p:spPr>
        <p:txBody>
          <a:bodyPr tIns="1800000"/>
          <a:lstStyle>
            <a:lvl1pPr algn="ctr">
              <a:defRPr/>
            </a:lvl1pPr>
          </a:lstStyle>
          <a:p>
            <a:r>
              <a:rPr lang="en-US" noProof="0"/>
              <a:t>Click icon to add picture</a:t>
            </a:r>
          </a:p>
        </p:txBody>
      </p:sp>
    </p:spTree>
    <p:extLst>
      <p:ext uri="{BB962C8B-B14F-4D97-AF65-F5344CB8AC3E}">
        <p14:creationId xmlns:p14="http://schemas.microsoft.com/office/powerpoint/2010/main" val="32112993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Free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5CDB9E4A-37E0-45B2-BC93-C2EC503FB8F7}"/>
              </a:ext>
            </a:extLst>
          </p:cNvPr>
          <p:cNvSpPr>
            <a:spLocks noGrp="1"/>
          </p:cNvSpPr>
          <p:nvPr>
            <p:ph type="title"/>
          </p:nvPr>
        </p:nvSpPr>
        <p:spPr/>
        <p:txBody>
          <a:bodyPr/>
          <a:lstStyle/>
          <a:p>
            <a:r>
              <a:rPr lang="de-DE"/>
              <a:t>Mastertitelformat bearbeiten</a:t>
            </a:r>
            <a:endParaRPr lang="en-US" dirty="0"/>
          </a:p>
        </p:txBody>
      </p:sp>
      <p:sp>
        <p:nvSpPr>
          <p:cNvPr id="9" name="Footer Placeholder">
            <a:extLst>
              <a:ext uri="{FF2B5EF4-FFF2-40B4-BE49-F238E27FC236}">
                <a16:creationId xmlns:a16="http://schemas.microsoft.com/office/drawing/2014/main" id="{8C6E0B19-DC70-4D19-9A56-05E87567F196}"/>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10" name="Slide Number Placeholder">
            <a:extLst>
              <a:ext uri="{FF2B5EF4-FFF2-40B4-BE49-F238E27FC236}">
                <a16:creationId xmlns:a16="http://schemas.microsoft.com/office/drawing/2014/main" id="{D3DF1D7C-B467-46E9-B036-83EC1DBE711C}"/>
              </a:ext>
            </a:extLst>
          </p:cNvPr>
          <p:cNvSpPr>
            <a:spLocks noGrp="1"/>
          </p:cNvSpPr>
          <p:nvPr>
            <p:ph type="sldNum" sz="quarter" idx="11"/>
          </p:nvPr>
        </p:nvSpPr>
        <p:spPr/>
        <p:txBody>
          <a:bodyPr/>
          <a:lstStyle/>
          <a:p>
            <a:r>
              <a:rPr lang="en-US"/>
              <a:t>Page </a:t>
            </a:r>
            <a:fld id="{15EBE321-CBB1-4E91-BD14-37C8D44326FB}" type="slidenum">
              <a:rPr lang="en-US" smtClean="0"/>
              <a:pPr/>
              <a:t>‹Nr.›</a:t>
            </a:fld>
            <a:endParaRPr lang="en-US" dirty="0"/>
          </a:p>
        </p:txBody>
      </p:sp>
      <p:pic>
        <p:nvPicPr>
          <p:cNvPr id="7" name="Siemens Logo">
            <a:extLst>
              <a:ext uri="{FF2B5EF4-FFF2-40B4-BE49-F238E27FC236}">
                <a16:creationId xmlns:a16="http://schemas.microsoft.com/office/drawing/2014/main" id="{E73DB6A8-F91C-4B87-ACAA-19A2D5EA21E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635188" y="6418800"/>
            <a:ext cx="1152000" cy="183168"/>
          </a:xfrm>
          <a:prstGeom prst="rect">
            <a:avLst/>
          </a:prstGeom>
        </p:spPr>
      </p:pic>
    </p:spTree>
    <p:extLst>
      <p:ext uri="{BB962C8B-B14F-4D97-AF65-F5344CB8AC3E}">
        <p14:creationId xmlns:p14="http://schemas.microsoft.com/office/powerpoint/2010/main" val="1304807333"/>
      </p:ext>
    </p:extLst>
  </p:cSld>
  <p:clrMapOvr>
    <a:masterClrMapping/>
  </p:clrMapOvr>
  <p:extLst>
    <p:ext uri="{DCECCB84-F9BA-43D5-87BE-67443E8EF086}">
      <p15:sldGuideLst xmlns:p15="http://schemas.microsoft.com/office/powerpoint/2012/main">
        <p15:guide id="1" pos="259">
          <p15:clr>
            <a:srgbClr val="65CEFF"/>
          </p15:clr>
        </p15:guide>
        <p15:guide id="2" pos="2526">
          <p15:clr>
            <a:srgbClr val="65CEFF"/>
          </p15:clr>
        </p15:guide>
        <p15:guide id="3" pos="2708">
          <p15:clr>
            <a:srgbClr val="65CEFF"/>
          </p15:clr>
        </p15:guide>
        <p15:guide id="4" pos="3705">
          <p15:clr>
            <a:srgbClr val="65CEFF"/>
          </p15:clr>
        </p15:guide>
        <p15:guide id="5" pos="3978">
          <p15:clr>
            <a:srgbClr val="65CEFF"/>
          </p15:clr>
        </p15:guide>
        <p15:guide id="7" pos="4975">
          <p15:clr>
            <a:srgbClr val="65CEFF"/>
          </p15:clr>
        </p15:guide>
        <p15:guide id="8" pos="5157">
          <p15:clr>
            <a:srgbClr val="65CEFF"/>
          </p15:clr>
        </p15:guide>
        <p15:guide id="9" pos="6472">
          <p15:clr>
            <a:srgbClr val="65CEFF"/>
          </p15:clr>
        </p15:guide>
        <p15:guide id="10" pos="7425">
          <p15:clr>
            <a:srgbClr val="65CEFF"/>
          </p15:clr>
        </p15:guide>
        <p15:guide id="11" orient="horz" pos="302">
          <p15:clr>
            <a:srgbClr val="65CEFF"/>
          </p15:clr>
        </p15:guide>
        <p15:guide id="12" orient="horz" pos="664">
          <p15:clr>
            <a:srgbClr val="65CEFF"/>
          </p15:clr>
        </p15:guide>
        <p15:guide id="13" orient="horz" pos="891">
          <p15:clr>
            <a:srgbClr val="65CEFF"/>
          </p15:clr>
        </p15:guide>
        <p15:guide id="14" orient="horz" pos="2206">
          <p15:clr>
            <a:srgbClr val="65CEFF"/>
          </p15:clr>
        </p15:guide>
        <p15:guide id="15" orient="horz" pos="2343">
          <p15:clr>
            <a:srgbClr val="65CEFF"/>
          </p15:clr>
        </p15:guide>
        <p15:guide id="16" orient="horz" pos="3658">
          <p15:clr>
            <a:srgbClr val="65CEFF"/>
          </p15:clr>
        </p15:guide>
        <p15:guide id="17" orient="horz" pos="3885">
          <p15:clr>
            <a:srgbClr val="65CEFF"/>
          </p15:clr>
        </p15:guide>
        <p15:guide id="18" orient="horz" pos="4157">
          <p15:clr>
            <a:srgbClr val="65CE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Gradient DB–Petrol 40pt">
    <p:bg>
      <p:bgPr>
        <a:gradFill>
          <a:gsLst>
            <a:gs pos="33000">
              <a:schemeClr val="accent6"/>
            </a:gs>
            <a:gs pos="100000">
              <a:schemeClr val="accent1"/>
            </a:gs>
          </a:gsLst>
          <a:lin ang="5400000" scaled="1"/>
        </a:gradFill>
        <a:effectLst/>
      </p:bgPr>
    </p:bg>
    <p:spTree>
      <p:nvGrpSpPr>
        <p:cNvPr id="1" name=""/>
        <p:cNvGrpSpPr/>
        <p:nvPr/>
      </p:nvGrpSpPr>
      <p:grpSpPr>
        <a:xfrm>
          <a:off x="0" y="0"/>
          <a:ext cx="0" cy="0"/>
          <a:chOff x="0" y="0"/>
          <a:chExt cx="0" cy="0"/>
        </a:xfrm>
      </p:grpSpPr>
      <p:pic>
        <p:nvPicPr>
          <p:cNvPr id="6" name="Cognisphere" descr="A picture containing background pattern&#10;&#10;Description automatically generated">
            <a:extLst>
              <a:ext uri="{FF2B5EF4-FFF2-40B4-BE49-F238E27FC236}">
                <a16:creationId xmlns:a16="http://schemas.microsoft.com/office/drawing/2014/main" id="{DE598EC2-770B-4F85-A209-57F0E770943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itle">
            <a:extLst>
              <a:ext uri="{FF2B5EF4-FFF2-40B4-BE49-F238E27FC236}">
                <a16:creationId xmlns:a16="http://schemas.microsoft.com/office/drawing/2014/main" id="{B3CAAA86-26BD-41E0-A26A-7AF592C3A34A}"/>
              </a:ext>
            </a:extLst>
          </p:cNvPr>
          <p:cNvSpPr>
            <a:spLocks noGrp="1"/>
          </p:cNvSpPr>
          <p:nvPr>
            <p:ph type="title" hasCustomPrompt="1"/>
          </p:nvPr>
        </p:nvSpPr>
        <p:spPr>
          <a:xfrm>
            <a:off x="410400" y="1414463"/>
            <a:ext cx="9288000" cy="2462213"/>
          </a:xfrm>
          <a:blipFill dpi="0"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b="500"/>
            </a:stretch>
          </a:blipFill>
        </p:spPr>
        <p:txBody>
          <a:bodyPr wrap="square" rIns="0" bIns="0" anchor="t" anchorCtr="0">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a:t>
            </a:r>
            <a:br>
              <a:rPr lang="en-US" dirty="0"/>
            </a:br>
            <a:r>
              <a:rPr lang="en-US" dirty="0"/>
              <a:t>extra long headlines</a:t>
            </a:r>
            <a:br>
              <a:rPr lang="en-US" dirty="0"/>
            </a:br>
            <a:r>
              <a:rPr lang="en-US" dirty="0"/>
              <a:t>4 lines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3" y="3876675"/>
            <a:ext cx="9288000" cy="1930123"/>
          </a:xfrm>
          <a:prstGeom prst="rect">
            <a:avLst/>
          </a:prstGeom>
        </p:spPr>
        <p:txBody>
          <a:bodyPr lIns="0" tIns="349200">
            <a:noAutofit/>
          </a:bodyPr>
          <a:lstStyle>
            <a:lvl1pPr marL="0" indent="0" algn="l">
              <a:spcAft>
                <a:spcPts val="300"/>
              </a:spcAft>
              <a:buNone/>
              <a:defRPr sz="1600">
                <a:solidFill>
                  <a:schemeClr val="tx1"/>
                </a:solidFill>
              </a:defRPr>
            </a:lvl1pPr>
            <a:lvl2pPr marL="0" marR="0" indent="0" algn="l" defTabSz="914400" rtl="0" eaLnBrk="1" fontAlgn="auto" latinLnBrk="0" hangingPunct="1">
              <a:lnSpc>
                <a:spcPct val="110000"/>
              </a:lnSpc>
              <a:spcBef>
                <a:spcPts val="0"/>
              </a:spcBef>
              <a:spcAft>
                <a:spcPts val="300"/>
              </a:spcAft>
              <a:buClr>
                <a:schemeClr val="accent1"/>
              </a:buClr>
              <a:buSzTx/>
              <a:buFont typeface="Arial" panose="020B0604020202020204" pitchFamily="34" charset="0"/>
              <a:buNone/>
              <a:tabLst/>
              <a:defRPr sz="1600"/>
            </a:lvl2pPr>
            <a:lvl3pPr marL="0" indent="0" algn="l">
              <a:spcAft>
                <a:spcPts val="300"/>
              </a:spcAft>
              <a:buNone/>
              <a:defRPr sz="1600"/>
            </a:lvl3pPr>
            <a:lvl4pPr marL="0" indent="0" algn="l">
              <a:buNone/>
              <a:defRPr sz="1600"/>
            </a:lvl4pPr>
            <a:lvl5pPr marL="0" indent="0" algn="l">
              <a:buNone/>
              <a:defRPr sz="1600"/>
            </a:lvl5pPr>
            <a:lvl6pPr marL="0" indent="0" algn="l">
              <a:buNone/>
              <a:defRPr sz="1600"/>
            </a:lvl6pPr>
            <a:lvl7pPr marL="0" indent="0" algn="l">
              <a:buNone/>
              <a:defRPr sz="1600"/>
            </a:lvl7pPr>
            <a:lvl8pPr marL="0" indent="0" algn="l">
              <a:buNone/>
              <a:defRPr sz="1600"/>
            </a:lvl8pPr>
            <a:lvl9pPr marL="0" indent="0" algn="l">
              <a:buNone/>
              <a:defRPr sz="1600"/>
            </a:lvl9pPr>
          </a:lstStyle>
          <a:p>
            <a:pPr lvl="0"/>
            <a:r>
              <a:rPr lang="en-US" dirty="0"/>
              <a:t>Subhead for headline size 40 </a:t>
            </a:r>
            <a:r>
              <a:rPr lang="en-US" dirty="0" err="1"/>
              <a:t>pt</a:t>
            </a:r>
            <a:endParaRPr lang="en-US" dirty="0"/>
          </a:p>
        </p:txBody>
      </p:sp>
      <p:sp>
        <p:nvSpPr>
          <p:cNvPr id="2" name="Footer Placeholder">
            <a:extLst>
              <a:ext uri="{FF2B5EF4-FFF2-40B4-BE49-F238E27FC236}">
                <a16:creationId xmlns:a16="http://schemas.microsoft.com/office/drawing/2014/main" id="{36983F93-FD6F-4DAC-8F23-D4EF00A04206}"/>
              </a:ext>
            </a:extLst>
          </p:cNvPr>
          <p:cNvSpPr>
            <a:spLocks noGrp="1"/>
          </p:cNvSpPr>
          <p:nvPr>
            <p:ph type="ftr" sz="quarter" idx="12"/>
          </p:nvPr>
        </p:nvSpPr>
        <p:spPr>
          <a:xfrm>
            <a:off x="411163"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10" name="Siemens Logo">
            <a:extLst>
              <a:ext uri="{FF2B5EF4-FFF2-40B4-BE49-F238E27FC236}">
                <a16:creationId xmlns:a16="http://schemas.microsoft.com/office/drawing/2014/main" id="{9A561178-96D2-407A-94C5-91A37401F6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845533663"/>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3" pos="6109">
          <p15:clr>
            <a:srgbClr val="65CEFF"/>
          </p15:clr>
        </p15:guide>
        <p15:guide id="4" pos="7425">
          <p15:clr>
            <a:srgbClr val="65CEFF"/>
          </p15:clr>
        </p15:guide>
        <p15:guide id="5" orient="horz" pos="891">
          <p15:clr>
            <a:srgbClr val="65CEFF"/>
          </p15:clr>
        </p15:guide>
        <p15:guide id="6" orient="horz" pos="3658">
          <p15:clr>
            <a:srgbClr val="65CEFF"/>
          </p15:clr>
        </p15:guide>
        <p15:guide id="7" orient="horz" pos="4157">
          <p15:clr>
            <a:srgbClr val="65CE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picture dark 48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477328"/>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324000">
              <a:lnSpc>
                <a:spcPct val="100000"/>
              </a:lnSpc>
              <a:defRPr sz="4800">
                <a:solidFill>
                  <a:schemeClr val="tx1"/>
                </a:solidFill>
              </a:defRPr>
            </a:lvl1pPr>
          </a:lstStyle>
          <a:p>
            <a:r>
              <a:rPr lang="en-US" dirty="0"/>
              <a:t>Click to edit </a:t>
            </a:r>
            <a:br>
              <a:rPr lang="en-US" dirty="0"/>
            </a:br>
            <a:r>
              <a:rPr lang="en-US" dirty="0"/>
              <a:t>Master title style 48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256000"/>
            <a:ext cx="9288000" cy="911438"/>
          </a:xfrm>
          <a:prstGeom prst="rect">
            <a:avLst/>
          </a:prstGeom>
        </p:spPr>
        <p:txBody>
          <a:bodyPr lIns="0" tIns="252000">
            <a:noAutofit/>
          </a:bodyPr>
          <a:lstStyle>
            <a:lvl1pPr marL="0" indent="0" algn="l">
              <a:spcAft>
                <a:spcPts val="300"/>
              </a:spcAft>
              <a:buNone/>
              <a:defRPr sz="18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r>
              <a:rPr lang="en-US" dirty="0"/>
              <a:t>Subhead for headline size 48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4099078185"/>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picture dark 40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231106"/>
          </a:xfrm>
          <a:blipFill dpi="0" rotWithShape="1">
            <a:blip r:embed="rId2">
              <a:extLst>
                <a:ext uri="{96DAC541-7B7A-43D3-8B79-37D633B846F1}">
                  <asvg:svgBlip xmlns:asvg="http://schemas.microsoft.com/office/drawing/2016/SVG/main" r:embed="rId3"/>
                </a:ext>
              </a:extLst>
            </a:blip>
            <a:srcRect/>
            <a:stretch>
              <a:fillRect/>
            </a:stretch>
          </a:blipFill>
        </p:spPr>
        <p:txBody>
          <a:bodyPr rIns="0" bIns="0" anchor="t">
            <a:spAutoFit/>
          </a:bodyPr>
          <a:lstStyle>
            <a:lvl1pPr marL="270000">
              <a:lnSpc>
                <a:spcPct val="100000"/>
              </a:lnSpc>
              <a:defRPr sz="4000">
                <a:solidFill>
                  <a:schemeClr val="tx1"/>
                </a:solidFill>
              </a:defRPr>
            </a:lvl1pPr>
          </a:lstStyle>
          <a:p>
            <a:r>
              <a:rPr lang="en-US" dirty="0"/>
              <a:t>Click to edit </a:t>
            </a:r>
            <a:br>
              <a:rPr lang="en-US" dirty="0"/>
            </a:br>
            <a:r>
              <a:rPr lang="en-US" dirty="0"/>
              <a:t>Master title style 40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011106"/>
            <a:ext cx="9288000" cy="1156332"/>
          </a:xfrm>
          <a:prstGeom prst="rect">
            <a:avLst/>
          </a:prstGeom>
        </p:spPr>
        <p:txBody>
          <a:bodyPr lIns="0" tIns="252000">
            <a:noAutofit/>
          </a:bodyPr>
          <a:lstStyle>
            <a:lvl1pPr marL="0" indent="0" algn="l">
              <a:spcAft>
                <a:spcPts val="300"/>
              </a:spcAft>
              <a:buNone/>
              <a:defRPr sz="1600">
                <a:solidFill>
                  <a:schemeClr val="tx1"/>
                </a:solidFill>
              </a:defRPr>
            </a:lvl1pPr>
            <a:lvl2pPr marL="0" indent="0" algn="l">
              <a:spcAft>
                <a:spcPts val="300"/>
              </a:spcAft>
              <a:buNone/>
              <a:defRPr sz="16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40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218475109"/>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picture dark 36pt">
    <p:bg>
      <p:bgRef idx="1001">
        <a:schemeClr val="bg2"/>
      </p:bgRef>
    </p:bg>
    <p:spTree>
      <p:nvGrpSpPr>
        <p:cNvPr id="1" name=""/>
        <p:cNvGrpSpPr/>
        <p:nvPr/>
      </p:nvGrpSpPr>
      <p:grpSpPr>
        <a:xfrm>
          <a:off x="0" y="0"/>
          <a:ext cx="0" cy="0"/>
          <a:chOff x="0" y="0"/>
          <a:chExt cx="0" cy="0"/>
        </a:xfrm>
      </p:grpSpPr>
      <p:sp>
        <p:nvSpPr>
          <p:cNvPr id="8" name="Picture Placeholder">
            <a:extLst>
              <a:ext uri="{FF2B5EF4-FFF2-40B4-BE49-F238E27FC236}">
                <a16:creationId xmlns:a16="http://schemas.microsoft.com/office/drawing/2014/main" id="{2FA76E44-9BA3-4B84-98F7-42C18A2A8BA0}"/>
              </a:ext>
            </a:extLst>
          </p:cNvPr>
          <p:cNvSpPr>
            <a:spLocks noGrp="1"/>
          </p:cNvSpPr>
          <p:nvPr>
            <p:ph type="pic" sz="quarter" idx="11" hasCustomPrompt="1"/>
          </p:nvPr>
        </p:nvSpPr>
        <p:spPr>
          <a:xfrm>
            <a:off x="0" y="0"/>
            <a:ext cx="12192000" cy="3502800"/>
          </a:xfrm>
          <a:solidFill>
            <a:schemeClr val="accent1"/>
          </a:solidFill>
        </p:spPr>
        <p:txBody>
          <a:bodyPr lIns="144000" tIns="108000" rIns="144000" bIns="108000"/>
          <a:lstStyle>
            <a:lvl1pPr marL="0" indent="0">
              <a:buNone/>
              <a:defRPr>
                <a:solidFill>
                  <a:schemeClr val="tx1"/>
                </a:solidFill>
              </a:defRPr>
            </a:lvl1pPr>
          </a:lstStyle>
          <a:p>
            <a:r>
              <a:rPr lang="en-US" noProof="0" dirty="0"/>
              <a:t>Title picture</a:t>
            </a:r>
          </a:p>
        </p:txBody>
      </p:sp>
      <p:sp>
        <p:nvSpPr>
          <p:cNvPr id="2" name="Title">
            <a:extLst>
              <a:ext uri="{FF2B5EF4-FFF2-40B4-BE49-F238E27FC236}">
                <a16:creationId xmlns:a16="http://schemas.microsoft.com/office/drawing/2014/main" id="{8620440E-BF1B-417E-87A5-35990130B3FF}"/>
              </a:ext>
            </a:extLst>
          </p:cNvPr>
          <p:cNvSpPr>
            <a:spLocks noGrp="1"/>
          </p:cNvSpPr>
          <p:nvPr>
            <p:ph type="title" hasCustomPrompt="1"/>
          </p:nvPr>
        </p:nvSpPr>
        <p:spPr>
          <a:xfrm>
            <a:off x="410401" y="3780000"/>
            <a:ext cx="9287638" cy="1661993"/>
          </a:xfrm>
          <a:blipFill dpi="0"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t="-1000" b="500"/>
            </a:stretch>
          </a:blipFill>
        </p:spPr>
        <p:txBody>
          <a:bodyPr rIns="0" bIns="0" anchor="t">
            <a:spAutoFit/>
          </a:bodyPr>
          <a:lstStyle>
            <a:lvl1pPr marL="252000">
              <a:lnSpc>
                <a:spcPct val="100000"/>
              </a:lnSpc>
              <a:defRPr sz="3600">
                <a:solidFill>
                  <a:schemeClr val="tx1"/>
                </a:solidFill>
              </a:defRPr>
            </a:lvl1pPr>
          </a:lstStyle>
          <a:p>
            <a:r>
              <a:rPr lang="en-US" dirty="0"/>
              <a:t>Click to edit </a:t>
            </a:r>
            <a:br>
              <a:rPr lang="en-US" dirty="0"/>
            </a:br>
            <a:r>
              <a:rPr lang="en-US" dirty="0"/>
              <a:t>Master title style </a:t>
            </a:r>
            <a:br>
              <a:rPr lang="en-US" dirty="0"/>
            </a:br>
            <a:r>
              <a:rPr lang="en-US" dirty="0"/>
              <a:t>36 </a:t>
            </a:r>
            <a:r>
              <a:rPr lang="en-US" dirty="0" err="1"/>
              <a:t>pt</a:t>
            </a:r>
            <a:endParaRPr lang="en-US" dirty="0"/>
          </a:p>
        </p:txBody>
      </p:sp>
      <p:sp>
        <p:nvSpPr>
          <p:cNvPr id="3" name="Subhead">
            <a:extLst>
              <a:ext uri="{FF2B5EF4-FFF2-40B4-BE49-F238E27FC236}">
                <a16:creationId xmlns:a16="http://schemas.microsoft.com/office/drawing/2014/main" id="{89304306-5233-4901-B576-444696A2EA33}"/>
              </a:ext>
            </a:extLst>
          </p:cNvPr>
          <p:cNvSpPr>
            <a:spLocks noGrp="1"/>
          </p:cNvSpPr>
          <p:nvPr>
            <p:ph type="subTitle" idx="1" hasCustomPrompt="1"/>
          </p:nvPr>
        </p:nvSpPr>
        <p:spPr>
          <a:xfrm>
            <a:off x="411162" y="5441992"/>
            <a:ext cx="9288000" cy="725445"/>
          </a:xfrm>
          <a:prstGeom prst="rect">
            <a:avLst/>
          </a:prstGeom>
        </p:spPr>
        <p:txBody>
          <a:bodyPr lIns="0" tIns="252000">
            <a:noAutofit/>
          </a:bodyPr>
          <a:lstStyle>
            <a:lvl1pPr marL="0" indent="0" algn="l">
              <a:spcAft>
                <a:spcPts val="300"/>
              </a:spcAft>
              <a:buNone/>
              <a:defRPr sz="1400">
                <a:solidFill>
                  <a:schemeClr val="tx1"/>
                </a:solidFill>
              </a:defRPr>
            </a:lvl1pPr>
            <a:lvl2pPr marL="0" indent="0" algn="l">
              <a:spcAft>
                <a:spcPts val="300"/>
              </a:spcAft>
              <a:buNone/>
              <a:defRPr sz="1400"/>
            </a:lvl2pPr>
            <a:lvl3pPr marL="0" indent="0" algn="l">
              <a:spcAft>
                <a:spcPts val="300"/>
              </a:spcAft>
              <a:buNone/>
              <a:defRPr sz="1400"/>
            </a:lvl3pPr>
            <a:lvl4pPr marL="0" indent="0" algn="l">
              <a:buNone/>
              <a:defRPr sz="1400"/>
            </a:lvl4pPr>
            <a:lvl5pPr marL="0" indent="0" algn="l">
              <a:buNone/>
              <a:defRPr sz="1400"/>
            </a:lvl5pPr>
            <a:lvl6pPr marL="0" indent="0" algn="l">
              <a:buNone/>
              <a:defRPr sz="1400"/>
            </a:lvl6pPr>
            <a:lvl7pPr marL="0" indent="0" algn="l">
              <a:buNone/>
              <a:defRPr sz="1400"/>
            </a:lvl7pPr>
            <a:lvl8pPr marL="0" indent="0" algn="l">
              <a:buNone/>
              <a:defRPr sz="1400"/>
            </a:lvl8pPr>
            <a:lvl9pPr marL="0" indent="0" algn="l">
              <a:buNone/>
              <a:defRPr sz="1400"/>
            </a:lvl9pPr>
          </a:lstStyle>
          <a:p>
            <a:pPr lvl="0"/>
            <a:r>
              <a:rPr lang="en-US" dirty="0"/>
              <a:t>Subhead for headline size 36 </a:t>
            </a:r>
            <a:r>
              <a:rPr lang="en-US" dirty="0" err="1"/>
              <a:t>pt</a:t>
            </a:r>
            <a:endParaRPr lang="en-US" dirty="0"/>
          </a:p>
        </p:txBody>
      </p:sp>
      <p:sp>
        <p:nvSpPr>
          <p:cNvPr id="4" name="Footer Placeholder">
            <a:extLst>
              <a:ext uri="{FF2B5EF4-FFF2-40B4-BE49-F238E27FC236}">
                <a16:creationId xmlns:a16="http://schemas.microsoft.com/office/drawing/2014/main" id="{B61796B2-8510-42B4-A5F7-E1FE5FCE45A2}"/>
              </a:ext>
            </a:extLst>
          </p:cNvPr>
          <p:cNvSpPr>
            <a:spLocks noGrp="1"/>
          </p:cNvSpPr>
          <p:nvPr>
            <p:ph type="ftr" sz="quarter" idx="13"/>
          </p:nvPr>
        </p:nvSpPr>
        <p:spPr>
          <a:xfrm>
            <a:off x="411162" y="6310800"/>
            <a:ext cx="9288000" cy="547200"/>
          </a:xfrm>
        </p:spPr>
        <p:txBody>
          <a:bodyPr/>
          <a:lstStyle/>
          <a:p>
            <a:pPr>
              <a:lnSpc>
                <a:spcPct val="100000"/>
              </a:lnSpc>
            </a:pPr>
            <a:r>
              <a:rPr lang="en-US"/>
              <a:t>Unrestricted | © Siemens 2021 | Dr. Andreas Litzinger, José Malagon | SE DG EA | 2021-05-27</a:t>
            </a:r>
            <a:endParaRPr lang="en-US" dirty="0"/>
          </a:p>
        </p:txBody>
      </p:sp>
      <p:pic>
        <p:nvPicPr>
          <p:cNvPr id="7" name="Siemens Logo">
            <a:extLst>
              <a:ext uri="{FF2B5EF4-FFF2-40B4-BE49-F238E27FC236}">
                <a16:creationId xmlns:a16="http://schemas.microsoft.com/office/drawing/2014/main" id="{3E4A7839-9F7E-47F2-83BA-F637AE096316}"/>
              </a:ext>
            </a:extLst>
          </p:cNvPr>
          <p:cNvPicPr>
            <a:picLocks noChangeAspect="1"/>
          </p:cNvPicPr>
          <p:nvPr userDrawn="1"/>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10274400" y="6364800"/>
            <a:ext cx="1512000" cy="240408"/>
          </a:xfrm>
          <a:prstGeom prst="rect">
            <a:avLst/>
          </a:prstGeom>
        </p:spPr>
      </p:pic>
    </p:spTree>
    <p:extLst>
      <p:ext uri="{BB962C8B-B14F-4D97-AF65-F5344CB8AC3E}">
        <p14:creationId xmlns:p14="http://schemas.microsoft.com/office/powerpoint/2010/main" val="199942844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15:guide id="1" pos="259">
          <p15:clr>
            <a:srgbClr val="65CEFF"/>
          </p15:clr>
        </p15:guide>
        <p15:guide id="2" pos="6109">
          <p15:clr>
            <a:srgbClr val="65CEFF"/>
          </p15:clr>
        </p15:guide>
        <p15:guide id="3" pos="7425">
          <p15:clr>
            <a:srgbClr val="65CEFF"/>
          </p15:clr>
        </p15:guide>
        <p15:guide id="4" orient="horz" pos="2206">
          <p15:clr>
            <a:srgbClr val="65CEFF"/>
          </p15:clr>
        </p15:guide>
        <p15:guide id="5" orient="horz" pos="3885">
          <p15:clr>
            <a:srgbClr val="65CEFF"/>
          </p15:clr>
        </p15:guide>
        <p15:guide id="6" orient="horz" pos="4157">
          <p15:clr>
            <a:srgbClr val="65CE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a:extLst>
              <a:ext uri="{FF2B5EF4-FFF2-40B4-BE49-F238E27FC236}">
                <a16:creationId xmlns:a16="http://schemas.microsoft.com/office/drawing/2014/main" id="{2500D031-E8B7-42AD-B616-57A243A31EFA}"/>
              </a:ext>
            </a:extLst>
          </p:cNvPr>
          <p:cNvSpPr>
            <a:spLocks noGrp="1"/>
          </p:cNvSpPr>
          <p:nvPr>
            <p:ph type="title"/>
          </p:nvPr>
        </p:nvSpPr>
        <p:spPr>
          <a:xfrm>
            <a:off x="410400" y="478800"/>
            <a:ext cx="9863997" cy="576000"/>
          </a:xfrm>
          <a:prstGeom prst="rect">
            <a:avLst/>
          </a:prstGeom>
        </p:spPr>
        <p:txBody>
          <a:bodyPr vert="horz" lIns="0" tIns="0" rIns="324000" bIns="14400" rtlCol="0" anchor="b" anchorCtr="0">
            <a:noAutofit/>
          </a:bodyPr>
          <a:lstStyle/>
          <a:p>
            <a:r>
              <a:rPr lang="de-DE"/>
              <a:t>Mastertitelformat bearbeiten</a:t>
            </a:r>
            <a:endParaRPr lang="en-US" dirty="0"/>
          </a:p>
        </p:txBody>
      </p:sp>
      <p:sp>
        <p:nvSpPr>
          <p:cNvPr id="3" name="Text Placeholder">
            <a:extLst>
              <a:ext uri="{FF2B5EF4-FFF2-40B4-BE49-F238E27FC236}">
                <a16:creationId xmlns:a16="http://schemas.microsoft.com/office/drawing/2014/main" id="{6750A408-ED0E-47CF-AC3A-5AD4A6E25CE3}"/>
              </a:ext>
            </a:extLst>
          </p:cNvPr>
          <p:cNvSpPr>
            <a:spLocks noGrp="1"/>
          </p:cNvSpPr>
          <p:nvPr>
            <p:ph type="body" idx="1"/>
          </p:nvPr>
        </p:nvSpPr>
        <p:spPr>
          <a:xfrm>
            <a:off x="411161" y="1414800"/>
            <a:ext cx="7200000" cy="4536000"/>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ooter Placeholder">
            <a:extLst>
              <a:ext uri="{FF2B5EF4-FFF2-40B4-BE49-F238E27FC236}">
                <a16:creationId xmlns:a16="http://schemas.microsoft.com/office/drawing/2014/main" id="{4F5CAFE5-0972-49AB-B42B-7C613C153AFE}"/>
              </a:ext>
            </a:extLst>
          </p:cNvPr>
          <p:cNvSpPr>
            <a:spLocks noGrp="1"/>
          </p:cNvSpPr>
          <p:nvPr>
            <p:ph type="ftr" sz="quarter" idx="3"/>
          </p:nvPr>
        </p:nvSpPr>
        <p:spPr>
          <a:xfrm>
            <a:off x="1059160" y="6310800"/>
            <a:ext cx="9216000" cy="547200"/>
          </a:xfrm>
          <a:prstGeom prst="rect">
            <a:avLst/>
          </a:prstGeom>
        </p:spPr>
        <p:txBody>
          <a:bodyPr vert="horz" lIns="0" tIns="0" rIns="0" bIns="61200" rtlCol="0" anchor="ctr" anchorCtr="0"/>
          <a:lstStyle>
            <a:lvl1pPr algn="l">
              <a:lnSpc>
                <a:spcPct val="100000"/>
              </a:lnSpc>
              <a:defRPr sz="900">
                <a:solidFill>
                  <a:schemeClr val="tx1"/>
                </a:solidFill>
              </a:defRPr>
            </a:lvl1pPr>
          </a:lstStyle>
          <a:p>
            <a:r>
              <a:rPr lang="en-US"/>
              <a:t>Unrestricted | © Siemens 2021 | Dr. Andreas Litzinger, José Malagon | SE DG EA | 2021-05-27</a:t>
            </a:r>
            <a:endParaRPr lang="en-US" dirty="0"/>
          </a:p>
        </p:txBody>
      </p:sp>
      <p:sp>
        <p:nvSpPr>
          <p:cNvPr id="6" name="Slide Number Placeholder">
            <a:extLst>
              <a:ext uri="{FF2B5EF4-FFF2-40B4-BE49-F238E27FC236}">
                <a16:creationId xmlns:a16="http://schemas.microsoft.com/office/drawing/2014/main" id="{1C051FD7-F65C-4306-9083-C9770A0AF2DF}"/>
              </a:ext>
            </a:extLst>
          </p:cNvPr>
          <p:cNvSpPr>
            <a:spLocks noGrp="1"/>
          </p:cNvSpPr>
          <p:nvPr>
            <p:ph type="sldNum" sz="quarter" idx="4"/>
          </p:nvPr>
        </p:nvSpPr>
        <p:spPr>
          <a:xfrm>
            <a:off x="411162" y="6310800"/>
            <a:ext cx="648000" cy="547200"/>
          </a:xfrm>
          <a:prstGeom prst="rect">
            <a:avLst/>
          </a:prstGeom>
        </p:spPr>
        <p:txBody>
          <a:bodyPr vert="horz" lIns="0" tIns="0" rIns="0" bIns="61200" rtlCol="0" anchor="ctr" anchorCtr="0"/>
          <a:lstStyle>
            <a:lvl1pPr algn="l">
              <a:lnSpc>
                <a:spcPct val="100000"/>
              </a:lnSpc>
              <a:defRPr sz="900" b="1">
                <a:solidFill>
                  <a:schemeClr val="tx1"/>
                </a:solidFill>
              </a:defRPr>
            </a:lvl1pPr>
          </a:lstStyle>
          <a:p>
            <a:r>
              <a:rPr lang="en-US"/>
              <a:t>Page </a:t>
            </a:r>
            <a:fld id="{15EBE321-CBB1-4E91-BD14-37C8D44326FB}" type="slidenum">
              <a:rPr lang="en-US" smtClean="0"/>
              <a:pPr/>
              <a:t>‹Nr.›</a:t>
            </a:fld>
            <a:endParaRPr lang="en-US" dirty="0"/>
          </a:p>
        </p:txBody>
      </p:sp>
    </p:spTree>
    <p:extLst>
      <p:ext uri="{BB962C8B-B14F-4D97-AF65-F5344CB8AC3E}">
        <p14:creationId xmlns:p14="http://schemas.microsoft.com/office/powerpoint/2010/main" val="1698585145"/>
      </p:ext>
    </p:extLst>
  </p:cSld>
  <p:clrMap bg1="lt1" tx1="dk1" bg2="lt2" tx2="dk2" accent1="accent1" accent2="accent2" accent3="accent3" accent4="accent4" accent5="accent5" accent6="accent6" hlink="hlink" folHlink="folHlink"/>
  <p:sldLayoutIdLst>
    <p:sldLayoutId id="2147483717"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48" r:id="rId19"/>
    <p:sldLayoutId id="2147483749" r:id="rId20"/>
    <p:sldLayoutId id="2147483750" r:id="rId21"/>
    <p:sldLayoutId id="2147483745" r:id="rId22"/>
    <p:sldLayoutId id="2147483746" r:id="rId23"/>
    <p:sldLayoutId id="2147483747" r:id="rId24"/>
    <p:sldLayoutId id="2147483736" r:id="rId25"/>
    <p:sldLayoutId id="2147483737" r:id="rId26"/>
    <p:sldLayoutId id="2147483738" r:id="rId27"/>
    <p:sldLayoutId id="2147483739" r:id="rId28"/>
    <p:sldLayoutId id="2147483740" r:id="rId29"/>
    <p:sldLayoutId id="2147483741" r:id="rId30"/>
    <p:sldLayoutId id="2147483744" r:id="rId31"/>
    <p:sldLayoutId id="2147483708" r:id="rId32"/>
    <p:sldLayoutId id="2147483655" r:id="rId33"/>
    <p:sldLayoutId id="2147483742" r:id="rId34"/>
    <p:sldLayoutId id="2147483677" r:id="rId35"/>
    <p:sldLayoutId id="2147483709" r:id="rId36"/>
    <p:sldLayoutId id="2147483751" r:id="rId37"/>
    <p:sldLayoutId id="2147483691" r:id="rId38"/>
    <p:sldLayoutId id="2147483752" r:id="rId39"/>
    <p:sldLayoutId id="2147483692" r:id="rId40"/>
    <p:sldLayoutId id="2147483650" r:id="rId41"/>
    <p:sldLayoutId id="2147483665" r:id="rId42"/>
    <p:sldLayoutId id="2147483666" r:id="rId43"/>
    <p:sldLayoutId id="2147483697" r:id="rId44"/>
    <p:sldLayoutId id="2147483698" r:id="rId45"/>
    <p:sldLayoutId id="2147483652" r:id="rId46"/>
    <p:sldLayoutId id="2147483680" r:id="rId47"/>
    <p:sldLayoutId id="2147483694" r:id="rId48"/>
    <p:sldLayoutId id="2147483687" r:id="rId49"/>
    <p:sldLayoutId id="2147483681" r:id="rId50"/>
    <p:sldLayoutId id="2147483690" r:id="rId51"/>
    <p:sldLayoutId id="2147483711" r:id="rId52"/>
    <p:sldLayoutId id="2147483682" r:id="rId53"/>
    <p:sldLayoutId id="2147483678" r:id="rId54"/>
    <p:sldLayoutId id="2147483755" r:id="rId55"/>
    <p:sldLayoutId id="2147483756" r:id="rId56"/>
    <p:sldLayoutId id="2147483758" r:id="rId57"/>
    <p:sldLayoutId id="2147483759" r:id="rId58"/>
    <p:sldLayoutId id="2147483760" r:id="rId59"/>
  </p:sldLayoutIdLst>
  <p:hf hdr="0" dt="0"/>
  <p:txStyles>
    <p:titleStyle>
      <a:lvl1pPr algn="l" defTabSz="914400" rtl="0" eaLnBrk="1" latinLnBrk="0" hangingPunct="1">
        <a:lnSpc>
          <a:spcPct val="90000"/>
        </a:lnSpc>
        <a:spcBef>
          <a:spcPct val="0"/>
        </a:spcBef>
        <a:buNone/>
        <a:defRPr sz="2000" b="1" kern="1200">
          <a:solidFill>
            <a:schemeClr val="accent1"/>
          </a:solidFill>
          <a:latin typeface="+mj-lt"/>
          <a:ea typeface="+mj-ea"/>
          <a:cs typeface="+mj-cs"/>
        </a:defRPr>
      </a:lvl1pPr>
    </p:titleStyle>
    <p:bodyStyle>
      <a:lvl1pPr marL="0" indent="0" algn="l" defTabSz="914400" rtl="0" eaLnBrk="1" latinLnBrk="0" hangingPunct="1">
        <a:lnSpc>
          <a:spcPct val="110000"/>
        </a:lnSpc>
        <a:spcBef>
          <a:spcPts val="0"/>
        </a:spcBef>
        <a:spcAft>
          <a:spcPts val="300"/>
        </a:spcAft>
        <a:buFont typeface="Arial" panose="020B0604020202020204" pitchFamily="34" charset="0"/>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5pPr>
      <a:lvl6pPr marL="90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6pPr>
      <a:lvl7pPr marL="108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7pPr>
      <a:lvl8pPr marL="126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8pPr>
      <a:lvl9pPr marL="1440000" indent="-180000" algn="l" defTabSz="914400" rtl="0" eaLnBrk="1" latinLnBrk="0" hangingPunct="1">
        <a:lnSpc>
          <a:spcPct val="110000"/>
        </a:lnSpc>
        <a:spcBef>
          <a:spcPts val="0"/>
        </a:spcBef>
        <a:spcAft>
          <a:spcPts val="300"/>
        </a:spcAft>
        <a:buClr>
          <a:schemeClr val="accent1"/>
        </a:buClr>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32.emf"/><Relationship Id="rId4" Type="http://schemas.openxmlformats.org/officeDocument/2006/relationships/oleObject" Target="../embeddings/oleObject4.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3.xml"/><Relationship Id="rId4" Type="http://schemas.openxmlformats.org/officeDocument/2006/relationships/image" Target="../media/image35.png"/></Relationships>
</file>

<file path=ppt/slides/_rels/slide14.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oleObject" Target="../embeddings/oleObject5.bin"/><Relationship Id="rId1" Type="http://schemas.openxmlformats.org/officeDocument/2006/relationships/slideLayout" Target="../slideLayouts/slideLayout3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emf"/><Relationship Id="rId1" Type="http://schemas.openxmlformats.org/officeDocument/2006/relationships/slideLayout" Target="../slideLayouts/slideLayout33.xml"/><Relationship Id="rId5" Type="http://schemas.openxmlformats.org/officeDocument/2006/relationships/image" Target="../media/image40.emf"/><Relationship Id="rId4" Type="http://schemas.openxmlformats.org/officeDocument/2006/relationships/image" Target="../media/image39.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5.xml"/><Relationship Id="rId5" Type="http://schemas.openxmlformats.org/officeDocument/2006/relationships/slide" Target="slide15.xml"/><Relationship Id="rId4" Type="http://schemas.openxmlformats.org/officeDocument/2006/relationships/slide" Target="slide3.xml"/></Relationships>
</file>

<file path=ppt/slides/_rels/slide20.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41.emf"/><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slideLayout" Target="../slideLayouts/slideLayout33.xml"/><Relationship Id="rId1" Type="http://schemas.openxmlformats.org/officeDocument/2006/relationships/tags" Target="../tags/tag16.xml"/><Relationship Id="rId5" Type="http://schemas.openxmlformats.org/officeDocument/2006/relationships/image" Target="../media/image43.png"/><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3.png"/><Relationship Id="rId5" Type="http://schemas.openxmlformats.org/officeDocument/2006/relationships/image" Target="../media/image32.emf"/><Relationship Id="rId4" Type="http://schemas.openxmlformats.org/officeDocument/2006/relationships/oleObject" Target="../embeddings/oleObject6.bin"/></Relationships>
</file>

<file path=ppt/slides/_rels/slide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3.xml"/></Relationships>
</file>

<file path=ppt/slides/_rels/slide2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image" Target="../media/image49.png"/><Relationship Id="rId1" Type="http://schemas.openxmlformats.org/officeDocument/2006/relationships/slideLayout" Target="../slideLayouts/slideLayout33.xml"/><Relationship Id="rId4" Type="http://schemas.openxmlformats.org/officeDocument/2006/relationships/image" Target="../media/image51.emf"/></Relationships>
</file>

<file path=ppt/slides/_rels/slide29.xml.rels><?xml version="1.0" encoding="UTF-8" standalone="yes"?>
<Relationships xmlns="http://schemas.openxmlformats.org/package/2006/relationships"><Relationship Id="rId3" Type="http://schemas.openxmlformats.org/officeDocument/2006/relationships/image" Target="../media/image53.png"/><Relationship Id="rId7" Type="http://schemas.openxmlformats.org/officeDocument/2006/relationships/image" Target="../media/image57.emf"/><Relationship Id="rId2" Type="http://schemas.openxmlformats.org/officeDocument/2006/relationships/image" Target="../media/image52.jpeg"/><Relationship Id="rId1" Type="http://schemas.openxmlformats.org/officeDocument/2006/relationships/slideLayout" Target="../slideLayouts/slideLayout33.xml"/><Relationship Id="rId6" Type="http://schemas.openxmlformats.org/officeDocument/2006/relationships/image" Target="../media/image56.emf"/><Relationship Id="rId5" Type="http://schemas.openxmlformats.org/officeDocument/2006/relationships/image" Target="../media/image55.png"/><Relationship Id="rId4" Type="http://schemas.openxmlformats.org/officeDocument/2006/relationships/image" Target="../media/image5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image" Target="../media/image59.png"/><Relationship Id="rId1" Type="http://schemas.openxmlformats.org/officeDocument/2006/relationships/slideLayout" Target="../slideLayouts/slideLayout33.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3.xml"/><Relationship Id="rId1" Type="http://schemas.openxmlformats.org/officeDocument/2006/relationships/tags" Target="../tags/tag19.xml"/><Relationship Id="rId4" Type="http://schemas.openxmlformats.org/officeDocument/2006/relationships/image" Target="../media/image66.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3.xml"/><Relationship Id="rId1" Type="http://schemas.openxmlformats.org/officeDocument/2006/relationships/tags" Target="../tags/tag20.xml"/><Relationship Id="rId4" Type="http://schemas.openxmlformats.org/officeDocument/2006/relationships/image" Target="../media/image6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35.xml.rels><?xml version="1.0" encoding="UTF-8" standalone="yes"?>
<Relationships xmlns="http://schemas.openxmlformats.org/package/2006/relationships"><Relationship Id="rId3" Type="http://schemas.openxmlformats.org/officeDocument/2006/relationships/hyperlink" Target="mailto:firstname.lastname@siemens.com" TargetMode="External"/><Relationship Id="rId2" Type="http://schemas.openxmlformats.org/officeDocument/2006/relationships/hyperlink" Target="mailto:andreas.litzinger@siemens.com" TargetMode="External"/><Relationship Id="rId1" Type="http://schemas.openxmlformats.org/officeDocument/2006/relationships/slideLayout" Target="../slideLayouts/slideLayout5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32.emf"/><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32.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2.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DA865AB3-8AE0-4AB0-94C2-2E517EC147DE}"/>
              </a:ext>
            </a:extLst>
          </p:cNvPr>
          <p:cNvSpPr>
            <a:spLocks noGrp="1"/>
          </p:cNvSpPr>
          <p:nvPr>
            <p:ph type="title"/>
          </p:nvPr>
        </p:nvSpPr>
        <p:spPr>
          <a:xfrm>
            <a:off x="410400" y="1414464"/>
            <a:ext cx="11376788" cy="1846659"/>
          </a:xfrm>
          <a:solidFill>
            <a:srgbClr val="000027">
              <a:alpha val="75000"/>
            </a:srgbClr>
          </a:solidFill>
        </p:spPr>
        <p:txBody>
          <a:bodyPr/>
          <a:lstStyle/>
          <a:p>
            <a:r>
              <a:rPr lang="en-US" sz="4000" dirty="0"/>
              <a:t>Scalable WAMPAC product SIGUARD PDP and its application in system stability observation and protection</a:t>
            </a:r>
            <a:endParaRPr lang="en-US" sz="4000" b="0" dirty="0"/>
          </a:p>
        </p:txBody>
      </p:sp>
      <p:sp>
        <p:nvSpPr>
          <p:cNvPr id="17" name="Subtitle">
            <a:extLst>
              <a:ext uri="{FF2B5EF4-FFF2-40B4-BE49-F238E27FC236}">
                <a16:creationId xmlns:a16="http://schemas.microsoft.com/office/drawing/2014/main" id="{9F1C4C08-3D5C-4C0E-914A-F70CA07D0654}"/>
              </a:ext>
            </a:extLst>
          </p:cNvPr>
          <p:cNvSpPr>
            <a:spLocks noGrp="1"/>
          </p:cNvSpPr>
          <p:nvPr>
            <p:ph type="subTitle" idx="1"/>
          </p:nvPr>
        </p:nvSpPr>
        <p:spPr>
          <a:xfrm>
            <a:off x="997090" y="3820762"/>
            <a:ext cx="9034677" cy="1930398"/>
          </a:xfrm>
          <a:solidFill>
            <a:srgbClr val="000027">
              <a:alpha val="75000"/>
            </a:srgbClr>
          </a:solidFill>
        </p:spPr>
        <p:txBody>
          <a:bodyPr/>
          <a:lstStyle/>
          <a:p>
            <a:pPr lvl="1">
              <a:spcAft>
                <a:spcPts val="1200"/>
              </a:spcAft>
            </a:pPr>
            <a:r>
              <a:rPr lang="en-US" sz="1800" b="0" i="0" dirty="0">
                <a:solidFill>
                  <a:srgbClr val="FFFFFF"/>
                </a:solidFill>
                <a:effectLst/>
                <a:latin typeface="Open Sans" panose="020B0606030504020204" pitchFamily="34" charset="0"/>
              </a:rPr>
              <a:t>IEEE 2021 International Conference on Smart Grid Synchronized Measurements and Analytics – SGSMA 2021, May 25th - 27th 2021</a:t>
            </a:r>
          </a:p>
          <a:p>
            <a:pPr lvl="1">
              <a:spcAft>
                <a:spcPts val="1200"/>
              </a:spcAft>
            </a:pPr>
            <a:r>
              <a:rPr lang="en-US" sz="1800" b="0" i="0" dirty="0">
                <a:effectLst/>
                <a:latin typeface="Open Sans" panose="020B0606030504020204" pitchFamily="34" charset="0"/>
              </a:rPr>
              <a:t>Gold Sponsorship 3 presentation on May 27</a:t>
            </a:r>
            <a:r>
              <a:rPr lang="en-US" sz="1800" b="0" i="0" baseline="30000" dirty="0">
                <a:effectLst/>
                <a:latin typeface="Open Sans" panose="020B0606030504020204" pitchFamily="34" charset="0"/>
              </a:rPr>
              <a:t>th</a:t>
            </a:r>
            <a:r>
              <a:rPr lang="en-US" sz="1800" b="0" i="0" dirty="0">
                <a:effectLst/>
                <a:latin typeface="Open Sans" panose="020B0606030504020204" pitchFamily="34" charset="0"/>
              </a:rPr>
              <a:t>, </a:t>
            </a:r>
            <a:r>
              <a:rPr lang="de-DE" sz="1800" dirty="0"/>
              <a:t>1:30 </a:t>
            </a:r>
            <a:r>
              <a:rPr lang="de-DE" sz="1800" dirty="0" err="1"/>
              <a:t>pm</a:t>
            </a:r>
            <a:r>
              <a:rPr lang="de-DE" sz="1800" dirty="0"/>
              <a:t> - 2:15 </a:t>
            </a:r>
            <a:r>
              <a:rPr lang="de-DE" sz="1800" dirty="0" err="1"/>
              <a:t>pm</a:t>
            </a:r>
            <a:r>
              <a:rPr lang="de-DE" sz="1800" dirty="0"/>
              <a:t>, </a:t>
            </a:r>
            <a:r>
              <a:rPr lang="en-US" sz="1800" dirty="0"/>
              <a:t>CEST (+2.00 UCT)</a:t>
            </a:r>
            <a:endParaRPr lang="en-US" sz="1800" b="0" i="0" dirty="0">
              <a:solidFill>
                <a:srgbClr val="FFFFFF"/>
              </a:solidFill>
              <a:effectLst/>
              <a:latin typeface="Open Sans" panose="020B0606030504020204" pitchFamily="34" charset="0"/>
            </a:endParaRPr>
          </a:p>
          <a:p>
            <a:pPr lvl="1">
              <a:spcAft>
                <a:spcPts val="1200"/>
              </a:spcAft>
            </a:pPr>
            <a:r>
              <a:rPr lang="en-US" sz="1800" dirty="0"/>
              <a:t>Dr. Andreas Litzinger, José Malagon, Siemens AG, Germany</a:t>
            </a:r>
          </a:p>
        </p:txBody>
      </p:sp>
      <p:sp>
        <p:nvSpPr>
          <p:cNvPr id="2" name="Footer Placeholder">
            <a:extLst>
              <a:ext uri="{FF2B5EF4-FFF2-40B4-BE49-F238E27FC236}">
                <a16:creationId xmlns:a16="http://schemas.microsoft.com/office/drawing/2014/main" id="{8FDA17C2-CC0D-4A70-A1C4-4DAA44F64772}"/>
              </a:ext>
            </a:extLst>
          </p:cNvPr>
          <p:cNvSpPr>
            <a:spLocks noGrp="1"/>
          </p:cNvSpPr>
          <p:nvPr>
            <p:ph type="ftr" sz="quarter" idx="12"/>
          </p:nvPr>
        </p:nvSpPr>
        <p:spPr>
          <a:solidFill>
            <a:schemeClr val="bg2">
              <a:alpha val="75000"/>
            </a:schemeClr>
          </a:solidFill>
        </p:spPr>
        <p:txBody>
          <a:bodyPr/>
          <a:lstStyle/>
          <a:p>
            <a:r>
              <a:rPr lang="en-US" dirty="0"/>
              <a:t>Unrestricted | © Siemens 2021 | Dr. Andreas Litzinger, José Malagon | SE DG EA | 2021-05-27</a:t>
            </a:r>
          </a:p>
        </p:txBody>
      </p:sp>
    </p:spTree>
    <p:extLst>
      <p:ext uri="{BB962C8B-B14F-4D97-AF65-F5344CB8AC3E}">
        <p14:creationId xmlns:p14="http://schemas.microsoft.com/office/powerpoint/2010/main" val="21593554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A7942B6-5A78-4AAA-AFAC-92E6AA2307EE}"/>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4" name="Objekt 3" hidden="1">
                        <a:extLst>
                          <a:ext uri="{FF2B5EF4-FFF2-40B4-BE49-F238E27FC236}">
                            <a16:creationId xmlns:a16="http://schemas.microsoft.com/office/drawing/2014/main" id="{EA7942B6-5A78-4AAA-AFAC-92E6AA2307EE}"/>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204B1AE-0EE9-4876-BC7E-C479982C1F14}"/>
              </a:ext>
            </a:extLst>
          </p:cNvPr>
          <p:cNvSpPr/>
          <p:nvPr>
            <p:custDataLst>
              <p:tags r:id="rId2"/>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lnSpc>
                <a:spcPct val="110000"/>
              </a:lnSpc>
              <a:spcBef>
                <a:spcPct val="0"/>
              </a:spcBef>
              <a:buFont typeface="Wingdings" charset="0"/>
              <a:buNone/>
            </a:pPr>
            <a:endParaRPr lang="de-DE" sz="2199" b="1" dirty="0">
              <a:ea typeface="+mj-ea"/>
              <a:cs typeface="Arial" panose="020B0604020202020204" pitchFamily="34" charset="0"/>
              <a:sym typeface="Arial" panose="020B0604020202020204" pitchFamily="34" charset="0"/>
            </a:endParaRPr>
          </a:p>
        </p:txBody>
      </p:sp>
      <p:sp>
        <p:nvSpPr>
          <p:cNvPr id="3" name="Titel 2"/>
          <p:cNvSpPr>
            <a:spLocks noGrp="1"/>
          </p:cNvSpPr>
          <p:nvPr>
            <p:ph type="title"/>
          </p:nvPr>
        </p:nvSpPr>
        <p:spPr/>
        <p:txBody>
          <a:bodyPr/>
          <a:lstStyle/>
          <a:p>
            <a:r>
              <a:rPr lang="de-DE" dirty="0"/>
              <a:t>SIGUARD PDP</a:t>
            </a:r>
            <a:br>
              <a:rPr lang="de-DE" dirty="0"/>
            </a:br>
            <a:r>
              <a:rPr lang="de-DE" dirty="0"/>
              <a:t>Experience</a:t>
            </a:r>
          </a:p>
        </p:txBody>
      </p:sp>
      <p:sp>
        <p:nvSpPr>
          <p:cNvPr id="6" name="Inhaltsplatzhalter 3"/>
          <p:cNvSpPr txBox="1">
            <a:spLocks/>
          </p:cNvSpPr>
          <p:nvPr/>
        </p:nvSpPr>
        <p:spPr>
          <a:xfrm>
            <a:off x="626737" y="1413925"/>
            <a:ext cx="9931435" cy="4750501"/>
          </a:xfrm>
          <a:prstGeom prst="rect">
            <a:avLst/>
          </a:prstGeom>
        </p:spPr>
        <p:txBody>
          <a:bodyPr lIns="0" tIns="0" rIns="107944"/>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buFont typeface="Arial" panose="020B0604020202020204" pitchFamily="34" charset="0"/>
              <a:buChar char="•"/>
            </a:pPr>
            <a:r>
              <a:rPr lang="en-US" sz="1799" b="1" kern="0" dirty="0"/>
              <a:t>Worldwide used</a:t>
            </a:r>
          </a:p>
          <a:p>
            <a:pPr marL="644203" lvl="2" indent="-285607">
              <a:buFont typeface="Arial" panose="020B0604020202020204" pitchFamily="34" charset="0"/>
              <a:buChar char="•"/>
            </a:pPr>
            <a:r>
              <a:rPr lang="en-US" sz="1799" kern="0" dirty="0"/>
              <a:t>Substation data concentrators (Asia, Arabic peninsula)</a:t>
            </a:r>
          </a:p>
          <a:p>
            <a:pPr marL="644203" lvl="2" indent="-285607">
              <a:buFont typeface="Arial" panose="020B0604020202020204" pitchFamily="34" charset="0"/>
              <a:buChar char="•"/>
            </a:pPr>
            <a:r>
              <a:rPr lang="en-US" sz="1799" kern="0" dirty="0"/>
              <a:t>Non-Redundant WAMS (Europe, South America, Asia, Africa, Arabic peninsula)</a:t>
            </a:r>
          </a:p>
          <a:p>
            <a:pPr marL="644203" lvl="2" indent="-285607">
              <a:buFont typeface="Arial" panose="020B0604020202020204" pitchFamily="34" charset="0"/>
              <a:buChar char="•"/>
            </a:pPr>
            <a:r>
              <a:rPr lang="en-US" sz="1799" kern="0" dirty="0"/>
              <a:t>Redundant WAMS (South America, Asia)</a:t>
            </a:r>
          </a:p>
          <a:p>
            <a:pPr marL="644203" lvl="2" indent="-285607">
              <a:buFont typeface="Arial" panose="020B0604020202020204" pitchFamily="34" charset="0"/>
              <a:buChar char="•"/>
            </a:pPr>
            <a:r>
              <a:rPr lang="en-US" sz="1799" kern="0" dirty="0"/>
              <a:t>Multisite WAMS (Mid America)</a:t>
            </a:r>
          </a:p>
          <a:p>
            <a:pPr marL="644203" lvl="2" indent="-285607">
              <a:buFont typeface="Arial" panose="020B0604020202020204" pitchFamily="34" charset="0"/>
              <a:buChar char="•"/>
            </a:pPr>
            <a:r>
              <a:rPr lang="en-US" sz="1799" kern="0" dirty="0"/>
              <a:t>WAPS (South America, Europe)</a:t>
            </a:r>
          </a:p>
          <a:p>
            <a:pPr marL="644203" lvl="2" indent="-285607">
              <a:buFont typeface="Arial" panose="020B0604020202020204" pitchFamily="34" charset="0"/>
              <a:buChar char="•"/>
            </a:pPr>
            <a:endParaRPr lang="en-US" sz="1799" kern="0" dirty="0"/>
          </a:p>
          <a:p>
            <a:r>
              <a:rPr lang="en-US" sz="1799" kern="0" dirty="0"/>
              <a:t>SIGUARD PDP is on the world market for over 10 years, with more than 10 versions, continuously growing in functionality.</a:t>
            </a:r>
          </a:p>
        </p:txBody>
      </p:sp>
      <p:sp>
        <p:nvSpPr>
          <p:cNvPr id="5" name="Fußzeilenplatzhalter 4">
            <a:extLst>
              <a:ext uri="{FF2B5EF4-FFF2-40B4-BE49-F238E27FC236}">
                <a16:creationId xmlns:a16="http://schemas.microsoft.com/office/drawing/2014/main" id="{898E0D18-C682-4E1E-BBC9-6B22732407DE}"/>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7" name="Foliennummernplatzhalter 6">
            <a:extLst>
              <a:ext uri="{FF2B5EF4-FFF2-40B4-BE49-F238E27FC236}">
                <a16:creationId xmlns:a16="http://schemas.microsoft.com/office/drawing/2014/main" id="{CC94C272-D93A-4BB2-919B-E367EFEA0B68}"/>
              </a:ext>
            </a:extLst>
          </p:cNvPr>
          <p:cNvSpPr>
            <a:spLocks noGrp="1"/>
          </p:cNvSpPr>
          <p:nvPr>
            <p:ph type="sldNum" sz="quarter" idx="11"/>
          </p:nvPr>
        </p:nvSpPr>
        <p:spPr/>
        <p:txBody>
          <a:bodyPr/>
          <a:lstStyle/>
          <a:p>
            <a:r>
              <a:rPr lang="en-US"/>
              <a:t>Page </a:t>
            </a:r>
            <a:fld id="{15EBE321-CBB1-4E91-BD14-37C8D44326FB}" type="slidenum">
              <a:rPr lang="en-US" smtClean="0"/>
              <a:pPr/>
              <a:t>10</a:t>
            </a:fld>
            <a:endParaRPr lang="en-US" dirty="0"/>
          </a:p>
        </p:txBody>
      </p:sp>
    </p:spTree>
    <p:extLst>
      <p:ext uri="{BB962C8B-B14F-4D97-AF65-F5344CB8AC3E}">
        <p14:creationId xmlns:p14="http://schemas.microsoft.com/office/powerpoint/2010/main" val="7869037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fade">
                                      <p:cBhvr>
                                        <p:cTn id="27" dur="500"/>
                                        <p:tgtEl>
                                          <p:spTgt spid="6">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7" end="7"/>
                                            </p:txEl>
                                          </p:spTgt>
                                        </p:tgtEl>
                                        <p:attrNameLst>
                                          <p:attrName>style.visibility</p:attrName>
                                        </p:attrNameLst>
                                      </p:cBhvr>
                                      <p:to>
                                        <p:strVal val="visible"/>
                                      </p:to>
                                    </p:set>
                                    <p:animEffect transition="in" filter="fade">
                                      <p:cBhvr>
                                        <p:cTn id="32" dur="500"/>
                                        <p:tgtEl>
                                          <p:spTgt spid="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0737E6F-9FF3-4523-B5EC-135A59BF10C7}"/>
              </a:ext>
            </a:extLst>
          </p:cNvPr>
          <p:cNvSpPr>
            <a:spLocks noGrp="1"/>
          </p:cNvSpPr>
          <p:nvPr>
            <p:ph type="title"/>
          </p:nvPr>
        </p:nvSpPr>
        <p:spPr/>
        <p:txBody>
          <a:bodyPr/>
          <a:lstStyle/>
          <a:p>
            <a:r>
              <a:rPr lang="de-DE" dirty="0"/>
              <a:t>SIGUARD PDP</a:t>
            </a:r>
            <a:br>
              <a:rPr lang="de-DE" dirty="0"/>
            </a:br>
            <a:r>
              <a:rPr lang="en-US" dirty="0"/>
              <a:t>Use cases</a:t>
            </a:r>
          </a:p>
        </p:txBody>
      </p:sp>
      <p:sp>
        <p:nvSpPr>
          <p:cNvPr id="4" name="Inhaltsplatzhalter 3">
            <a:extLst>
              <a:ext uri="{FF2B5EF4-FFF2-40B4-BE49-F238E27FC236}">
                <a16:creationId xmlns:a16="http://schemas.microsoft.com/office/drawing/2014/main" id="{5BA56D35-CE6A-4D1D-A594-22D710AF6FE0}"/>
              </a:ext>
            </a:extLst>
          </p:cNvPr>
          <p:cNvSpPr>
            <a:spLocks noGrp="1"/>
          </p:cNvSpPr>
          <p:nvPr>
            <p:ph idx="4294967295"/>
          </p:nvPr>
        </p:nvSpPr>
        <p:spPr>
          <a:xfrm>
            <a:off x="626241" y="1314451"/>
            <a:ext cx="8204200" cy="4938938"/>
          </a:xfrm>
        </p:spPr>
        <p:txBody>
          <a:bodyPr/>
          <a:lstStyle/>
          <a:p>
            <a:r>
              <a:rPr lang="en-US" dirty="0"/>
              <a:t> All use cases are supported by </a:t>
            </a:r>
            <a:r>
              <a:rPr lang="en-US" b="1" dirty="0"/>
              <a:t>SIGUARD PDP </a:t>
            </a:r>
            <a:r>
              <a:rPr lang="en-US" dirty="0"/>
              <a:t>product.</a:t>
            </a:r>
          </a:p>
        </p:txBody>
      </p:sp>
      <p:graphicFrame>
        <p:nvGraphicFramePr>
          <p:cNvPr id="5" name="Tabelle 4">
            <a:extLst>
              <a:ext uri="{FF2B5EF4-FFF2-40B4-BE49-F238E27FC236}">
                <a16:creationId xmlns:a16="http://schemas.microsoft.com/office/drawing/2014/main" id="{AF8E2733-B95C-4E46-9E6F-EF284CF0517C}"/>
              </a:ext>
            </a:extLst>
          </p:cNvPr>
          <p:cNvGraphicFramePr>
            <a:graphicFrameLocks noGrp="1"/>
          </p:cNvGraphicFramePr>
          <p:nvPr>
            <p:extLst>
              <p:ext uri="{D42A27DB-BD31-4B8C-83A1-F6EECF244321}">
                <p14:modId xmlns:p14="http://schemas.microsoft.com/office/powerpoint/2010/main" val="3804115050"/>
              </p:ext>
            </p:extLst>
          </p:nvPr>
        </p:nvGraphicFramePr>
        <p:xfrm>
          <a:off x="626241" y="1892526"/>
          <a:ext cx="10723609" cy="4258933"/>
        </p:xfrm>
        <a:graphic>
          <a:graphicData uri="http://schemas.openxmlformats.org/drawingml/2006/table">
            <a:tbl>
              <a:tblPr>
                <a:tableStyleId>{93296810-A885-4BE3-A3E7-6D5BEEA58F35}</a:tableStyleId>
              </a:tblPr>
              <a:tblGrid>
                <a:gridCol w="1243280">
                  <a:extLst>
                    <a:ext uri="{9D8B030D-6E8A-4147-A177-3AD203B41FA5}">
                      <a16:colId xmlns:a16="http://schemas.microsoft.com/office/drawing/2014/main" val="3984954061"/>
                    </a:ext>
                  </a:extLst>
                </a:gridCol>
                <a:gridCol w="1829025">
                  <a:extLst>
                    <a:ext uri="{9D8B030D-6E8A-4147-A177-3AD203B41FA5}">
                      <a16:colId xmlns:a16="http://schemas.microsoft.com/office/drawing/2014/main" val="2018400484"/>
                    </a:ext>
                  </a:extLst>
                </a:gridCol>
                <a:gridCol w="956413">
                  <a:extLst>
                    <a:ext uri="{9D8B030D-6E8A-4147-A177-3AD203B41FA5}">
                      <a16:colId xmlns:a16="http://schemas.microsoft.com/office/drawing/2014/main" val="1242399961"/>
                    </a:ext>
                  </a:extLst>
                </a:gridCol>
                <a:gridCol w="956413">
                  <a:extLst>
                    <a:ext uri="{9D8B030D-6E8A-4147-A177-3AD203B41FA5}">
                      <a16:colId xmlns:a16="http://schemas.microsoft.com/office/drawing/2014/main" val="2581516194"/>
                    </a:ext>
                  </a:extLst>
                </a:gridCol>
                <a:gridCol w="956413">
                  <a:extLst>
                    <a:ext uri="{9D8B030D-6E8A-4147-A177-3AD203B41FA5}">
                      <a16:colId xmlns:a16="http://schemas.microsoft.com/office/drawing/2014/main" val="3391695927"/>
                    </a:ext>
                  </a:extLst>
                </a:gridCol>
                <a:gridCol w="956413">
                  <a:extLst>
                    <a:ext uri="{9D8B030D-6E8A-4147-A177-3AD203B41FA5}">
                      <a16:colId xmlns:a16="http://schemas.microsoft.com/office/drawing/2014/main" val="1215235227"/>
                    </a:ext>
                  </a:extLst>
                </a:gridCol>
                <a:gridCol w="956413">
                  <a:extLst>
                    <a:ext uri="{9D8B030D-6E8A-4147-A177-3AD203B41FA5}">
                      <a16:colId xmlns:a16="http://schemas.microsoft.com/office/drawing/2014/main" val="2859951887"/>
                    </a:ext>
                  </a:extLst>
                </a:gridCol>
                <a:gridCol w="956413">
                  <a:extLst>
                    <a:ext uri="{9D8B030D-6E8A-4147-A177-3AD203B41FA5}">
                      <a16:colId xmlns:a16="http://schemas.microsoft.com/office/drawing/2014/main" val="644699436"/>
                    </a:ext>
                  </a:extLst>
                </a:gridCol>
                <a:gridCol w="956413">
                  <a:extLst>
                    <a:ext uri="{9D8B030D-6E8A-4147-A177-3AD203B41FA5}">
                      <a16:colId xmlns:a16="http://schemas.microsoft.com/office/drawing/2014/main" val="2799014244"/>
                    </a:ext>
                  </a:extLst>
                </a:gridCol>
                <a:gridCol w="956413">
                  <a:extLst>
                    <a:ext uri="{9D8B030D-6E8A-4147-A177-3AD203B41FA5}">
                      <a16:colId xmlns:a16="http://schemas.microsoft.com/office/drawing/2014/main" val="2154808851"/>
                    </a:ext>
                  </a:extLst>
                </a:gridCol>
              </a:tblGrid>
              <a:tr h="529010">
                <a:tc>
                  <a:txBody>
                    <a:bodyPr/>
                    <a:lstStyle/>
                    <a:p>
                      <a:pPr algn="l" fontAlgn="b"/>
                      <a:r>
                        <a:rPr lang="de-DE" sz="1100" u="none" strike="noStrike">
                          <a:effectLst/>
                        </a:rPr>
                        <a:t>Component</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t"/>
                      <a:r>
                        <a:rPr lang="de-DE" sz="1100" u="none" strike="noStrike">
                          <a:effectLst/>
                        </a:rPr>
                        <a:t>Use case</a:t>
                      </a:r>
                      <a:endParaRPr lang="de-DE" sz="1100" b="0" i="0" u="none" strike="noStrike">
                        <a:solidFill>
                          <a:srgbClr val="000000"/>
                        </a:solidFill>
                        <a:effectLst/>
                        <a:latin typeface="Calibri" panose="020F0502020204030204" pitchFamily="34" charset="0"/>
                      </a:endParaRPr>
                    </a:p>
                  </a:txBody>
                  <a:tcPr marL="7625" marR="7625" marT="7625" marB="0"/>
                </a:tc>
                <a:tc>
                  <a:txBody>
                    <a:bodyPr/>
                    <a:lstStyle/>
                    <a:p>
                      <a:pPr algn="l" fontAlgn="b"/>
                      <a:r>
                        <a:rPr lang="de-DE" sz="1100" u="none" strike="noStrike">
                          <a:effectLst/>
                        </a:rPr>
                        <a:t>Substation</a:t>
                      </a:r>
                      <a:br>
                        <a:rPr lang="de-DE" sz="1100" u="none" strike="noStrike">
                          <a:effectLst/>
                        </a:rPr>
                      </a:br>
                      <a:r>
                        <a:rPr lang="de-DE" sz="1100" u="none" strike="noStrike">
                          <a:effectLst/>
                        </a:rPr>
                        <a:t>Data Concentrator</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Regional Data Concentrator</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WAMS w/o Application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 WAMS with Application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en-US" sz="1100" u="none" strike="noStrike">
                          <a:effectLst/>
                        </a:rPr>
                        <a:t>WAMS w/o Applications, redundant</a:t>
                      </a:r>
                      <a:endParaRPr lang="en-US"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WAMS with Applications, redundant</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en-US" sz="1100" u="none" strike="noStrike">
                          <a:effectLst/>
                        </a:rPr>
                        <a:t>Multisite WAMS w/o Applications</a:t>
                      </a:r>
                      <a:endParaRPr lang="en-US"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Multisite WAMS with applications</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1014934868"/>
                  </a:ext>
                </a:extLst>
              </a:tr>
              <a:tr h="358651">
                <a:tc>
                  <a:txBody>
                    <a:bodyPr/>
                    <a:lstStyle/>
                    <a:p>
                      <a:pPr algn="l" fontAlgn="b"/>
                      <a:r>
                        <a:rPr lang="de-DE" sz="1100" u="none" strike="noStrike">
                          <a:effectLst/>
                        </a:rPr>
                        <a:t>Architecture</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all-in-one</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server/client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server/client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server/client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2x server / client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2x server / client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N x (2x server / client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N x (2x server / clients)</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3147942418"/>
                  </a:ext>
                </a:extLst>
              </a:tr>
              <a:tr h="179326">
                <a:tc>
                  <a:txBody>
                    <a:bodyPr/>
                    <a:lstStyle/>
                    <a:p>
                      <a:pPr algn="l" fontAlgn="b"/>
                      <a:r>
                        <a:rPr lang="de-DE" sz="1100" u="none" strike="noStrike">
                          <a:effectLst/>
                        </a:rPr>
                        <a:t>PMU protocol</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1849698712"/>
                  </a:ext>
                </a:extLst>
              </a:tr>
              <a:tr h="179326">
                <a:tc>
                  <a:txBody>
                    <a:bodyPr/>
                    <a:lstStyle/>
                    <a:p>
                      <a:pPr algn="l" fontAlgn="b"/>
                      <a:r>
                        <a:rPr lang="de-DE" sz="1100" u="none" strike="noStrike">
                          <a:effectLst/>
                        </a:rPr>
                        <a:t>Collector</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2488113426"/>
                  </a:ext>
                </a:extLst>
              </a:tr>
              <a:tr h="331364">
                <a:tc>
                  <a:txBody>
                    <a:bodyPr/>
                    <a:lstStyle/>
                    <a:p>
                      <a:pPr algn="l" fontAlgn="b"/>
                      <a:r>
                        <a:rPr lang="de-DE" sz="1100" u="none" strike="noStrike">
                          <a:effectLst/>
                        </a:rPr>
                        <a:t>Calculation engine</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dirty="0">
                          <a:effectLst/>
                        </a:rPr>
                        <a:t>x</a:t>
                      </a:r>
                      <a:endParaRPr lang="de-DE" sz="1100" b="0" i="0" u="none" strike="noStrike" dirty="0">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3153364053"/>
                  </a:ext>
                </a:extLst>
              </a:tr>
              <a:tr h="179326">
                <a:tc>
                  <a:txBody>
                    <a:bodyPr/>
                    <a:lstStyle/>
                    <a:p>
                      <a:pPr algn="l" fontAlgn="b"/>
                      <a:r>
                        <a:rPr lang="de-DE" sz="1100" u="none" strike="noStrike">
                          <a:effectLst/>
                        </a:rPr>
                        <a:t>Online archive</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3305011178"/>
                  </a:ext>
                </a:extLst>
              </a:tr>
              <a:tr h="179326">
                <a:tc>
                  <a:txBody>
                    <a:bodyPr/>
                    <a:lstStyle/>
                    <a:p>
                      <a:pPr algn="l" fontAlgn="b"/>
                      <a:r>
                        <a:rPr lang="de-DE" sz="1100" u="none" strike="noStrike">
                          <a:effectLst/>
                        </a:rPr>
                        <a:t>Offline archive</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1678054719"/>
                  </a:ext>
                </a:extLst>
              </a:tr>
              <a:tr h="179326">
                <a:tc>
                  <a:txBody>
                    <a:bodyPr/>
                    <a:lstStyle/>
                    <a:p>
                      <a:pPr algn="l" fontAlgn="b"/>
                      <a:r>
                        <a:rPr lang="de-DE" sz="1100" u="none" strike="noStrike">
                          <a:effectLst/>
                        </a:rPr>
                        <a:t>User Interface</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 (1)</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 (1)</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 (N)</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 (N)</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 (N)</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 (N)</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 (N)</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 (N)</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2606270838"/>
                  </a:ext>
                </a:extLst>
              </a:tr>
              <a:tr h="179326">
                <a:tc>
                  <a:txBody>
                    <a:bodyPr/>
                    <a:lstStyle/>
                    <a:p>
                      <a:pPr algn="l" fontAlgn="b"/>
                      <a:r>
                        <a:rPr lang="de-DE" sz="1100" u="none" strike="noStrike">
                          <a:effectLst/>
                        </a:rPr>
                        <a:t>Application</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Island State Detection</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2668854858"/>
                  </a:ext>
                </a:extLst>
              </a:tr>
              <a:tr h="179326">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Power Swing Recognition</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2241194861"/>
                  </a:ext>
                </a:extLst>
              </a:tr>
              <a:tr h="179326">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Short circuit detection</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2263732551"/>
                  </a:ext>
                </a:extLst>
              </a:tr>
              <a:tr h="197980">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Generation and demand los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964442507"/>
                  </a:ext>
                </a:extLst>
              </a:tr>
              <a:tr h="179326">
                <a:tc>
                  <a:txBody>
                    <a:bodyPr/>
                    <a:lstStyle/>
                    <a:p>
                      <a:pPr algn="l" fontAlgn="b"/>
                      <a:r>
                        <a:rPr lang="de-DE" sz="1100" u="none" strike="noStrike">
                          <a:effectLst/>
                        </a:rPr>
                        <a:t>Interfaces</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IEEE C37.118</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3303703448"/>
                  </a:ext>
                </a:extLst>
              </a:tr>
              <a:tr h="179326">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IEC 60780-5-104</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3281227461"/>
                  </a:ext>
                </a:extLst>
              </a:tr>
              <a:tr h="179326">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ICCP Tase.2</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4088566723"/>
                  </a:ext>
                </a:extLst>
              </a:tr>
              <a:tr h="179326">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OPC - DA</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430809474"/>
                  </a:ext>
                </a:extLst>
              </a:tr>
              <a:tr h="179326">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SNMP</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1612375254"/>
                  </a:ext>
                </a:extLst>
              </a:tr>
              <a:tr h="179326">
                <a:tc>
                  <a:txBody>
                    <a:bodyPr/>
                    <a:lstStyle/>
                    <a:p>
                      <a:pPr algn="l" fontAlgn="b"/>
                      <a:r>
                        <a:rPr lang="de-DE" sz="1100" u="none" strike="noStrike">
                          <a:effectLst/>
                        </a:rPr>
                        <a:t>Multisite Manager</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 </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tc>
                  <a:txBody>
                    <a:bodyPr/>
                    <a:lstStyle/>
                    <a:p>
                      <a:pPr algn="ctr" fontAlgn="b"/>
                      <a:r>
                        <a:rPr lang="de-DE" sz="1100" u="none" strike="noStrike">
                          <a:effectLst/>
                        </a:rPr>
                        <a:t>x</a:t>
                      </a:r>
                      <a:endParaRPr lang="de-DE" sz="1100" b="0" i="0" u="none" strike="noStrike">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1263386387"/>
                  </a:ext>
                </a:extLst>
              </a:tr>
              <a:tr h="331364">
                <a:tc>
                  <a:txBody>
                    <a:bodyPr/>
                    <a:lstStyle/>
                    <a:p>
                      <a:pPr algn="l" fontAlgn="b"/>
                      <a:r>
                        <a:rPr lang="de-DE" sz="1100" u="none" strike="noStrike" dirty="0" err="1">
                          <a:effectLst/>
                        </a:rPr>
                        <a:t>Product</a:t>
                      </a:r>
                      <a:endParaRPr lang="de-DE" sz="1100" b="0" i="0" u="none" strike="noStrike" dirty="0">
                        <a:solidFill>
                          <a:srgbClr val="000000"/>
                        </a:solidFill>
                        <a:effectLst/>
                        <a:latin typeface="Calibri" panose="020F0502020204030204" pitchFamily="34" charset="0"/>
                      </a:endParaRPr>
                    </a:p>
                  </a:txBody>
                  <a:tcPr marL="7625" marR="7625" marT="7625" marB="0" anchor="b"/>
                </a:tc>
                <a:tc>
                  <a:txBody>
                    <a:bodyPr/>
                    <a:lstStyle/>
                    <a:p>
                      <a:pPr algn="l" fontAlgn="b"/>
                      <a:r>
                        <a:rPr lang="de-DE" sz="1100" u="none" strike="noStrike" dirty="0">
                          <a:effectLst/>
                        </a:rPr>
                        <a:t> </a:t>
                      </a:r>
                      <a:endParaRPr lang="de-DE" sz="1100" b="0" i="0" u="none" strike="noStrike" dirty="0">
                        <a:solidFill>
                          <a:srgbClr val="000000"/>
                        </a:solidFill>
                        <a:effectLst/>
                        <a:latin typeface="Calibri" panose="020F0502020204030204" pitchFamily="34" charset="0"/>
                      </a:endParaRPr>
                    </a:p>
                  </a:txBody>
                  <a:tcPr marL="7625" marR="7625" marT="7625" marB="0" anchor="b"/>
                </a:tc>
                <a:tc>
                  <a:txBody>
                    <a:bodyPr/>
                    <a:lstStyle/>
                    <a:p>
                      <a:pPr algn="l" fontAlgn="b"/>
                      <a:r>
                        <a:rPr lang="de-DE" sz="1000" b="1" u="none" strike="noStrike" dirty="0">
                          <a:effectLst/>
                        </a:rPr>
                        <a:t>SIGUARD PDP</a:t>
                      </a:r>
                      <a:endParaRPr lang="de-DE" sz="1000" b="1" i="0" u="none" strike="noStrike" dirty="0">
                        <a:solidFill>
                          <a:srgbClr val="000000"/>
                        </a:solidFill>
                        <a:effectLst/>
                        <a:latin typeface="Calibri" panose="020F0502020204030204" pitchFamily="34" charset="0"/>
                      </a:endParaRPr>
                    </a:p>
                  </a:txBody>
                  <a:tcPr marL="7625" marR="7625" marT="7625" marB="0" anchor="b"/>
                </a:tc>
                <a:tc>
                  <a:txBody>
                    <a:bodyPr/>
                    <a:lstStyle/>
                    <a:p>
                      <a:pPr algn="l" fontAlgn="b"/>
                      <a:r>
                        <a:rPr lang="de-DE" sz="1000" b="1" u="none" strike="noStrike" dirty="0">
                          <a:effectLst/>
                        </a:rPr>
                        <a:t>SIGUARD PDP</a:t>
                      </a:r>
                      <a:endParaRPr lang="de-DE" sz="1000" b="1" i="0" u="none" strike="noStrike" dirty="0">
                        <a:solidFill>
                          <a:srgbClr val="000000"/>
                        </a:solidFill>
                        <a:effectLst/>
                        <a:latin typeface="Calibri" panose="020F0502020204030204" pitchFamily="34" charset="0"/>
                      </a:endParaRPr>
                    </a:p>
                  </a:txBody>
                  <a:tcPr marL="7625" marR="7625" marT="7625" marB="0" anchor="b"/>
                </a:tc>
                <a:tc>
                  <a:txBody>
                    <a:bodyPr/>
                    <a:lstStyle/>
                    <a:p>
                      <a:pPr algn="l" fontAlgn="b"/>
                      <a:r>
                        <a:rPr lang="de-DE" sz="1000" b="1" u="none" strike="noStrike" dirty="0">
                          <a:effectLst/>
                        </a:rPr>
                        <a:t>SIGUARD PDP</a:t>
                      </a:r>
                      <a:endParaRPr lang="de-DE" sz="1000" b="1" i="0" u="none" strike="noStrike" dirty="0">
                        <a:solidFill>
                          <a:srgbClr val="000000"/>
                        </a:solidFill>
                        <a:effectLst/>
                        <a:latin typeface="Calibri" panose="020F0502020204030204" pitchFamily="34" charset="0"/>
                      </a:endParaRPr>
                    </a:p>
                  </a:txBody>
                  <a:tcPr marL="7625" marR="7625" marT="7625" marB="0" anchor="b"/>
                </a:tc>
                <a:tc>
                  <a:txBody>
                    <a:bodyPr/>
                    <a:lstStyle/>
                    <a:p>
                      <a:pPr algn="l" fontAlgn="b"/>
                      <a:r>
                        <a:rPr lang="de-DE" sz="1000" b="1" u="none" strike="noStrike" dirty="0">
                          <a:effectLst/>
                        </a:rPr>
                        <a:t>SIGUARD PDP</a:t>
                      </a:r>
                      <a:endParaRPr lang="de-DE" sz="1000" b="1" i="0" u="none" strike="noStrike" dirty="0">
                        <a:solidFill>
                          <a:srgbClr val="000000"/>
                        </a:solidFill>
                        <a:effectLst/>
                        <a:latin typeface="Calibri" panose="020F0502020204030204" pitchFamily="34" charset="0"/>
                      </a:endParaRPr>
                    </a:p>
                  </a:txBody>
                  <a:tcPr marL="7625" marR="7625" marT="7625" marB="0" anchor="b"/>
                </a:tc>
                <a:tc>
                  <a:txBody>
                    <a:bodyPr/>
                    <a:lstStyle/>
                    <a:p>
                      <a:pPr algn="l" fontAlgn="b"/>
                      <a:r>
                        <a:rPr lang="de-DE" sz="1000" b="1" u="none" strike="noStrike" dirty="0">
                          <a:effectLst/>
                        </a:rPr>
                        <a:t>SIGUARD PDP</a:t>
                      </a:r>
                      <a:endParaRPr lang="de-DE" sz="1000" b="1" i="0" u="none" strike="noStrike" dirty="0">
                        <a:solidFill>
                          <a:srgbClr val="000000"/>
                        </a:solidFill>
                        <a:effectLst/>
                        <a:latin typeface="Calibri" panose="020F0502020204030204" pitchFamily="34" charset="0"/>
                      </a:endParaRPr>
                    </a:p>
                  </a:txBody>
                  <a:tcPr marL="7625" marR="7625" marT="7625" marB="0" anchor="b"/>
                </a:tc>
                <a:tc>
                  <a:txBody>
                    <a:bodyPr/>
                    <a:lstStyle/>
                    <a:p>
                      <a:pPr algn="l" fontAlgn="b"/>
                      <a:r>
                        <a:rPr lang="de-DE" sz="1000" b="1" u="none" strike="noStrike" dirty="0">
                          <a:effectLst/>
                        </a:rPr>
                        <a:t>SIGUARD PDP</a:t>
                      </a:r>
                      <a:endParaRPr lang="de-DE" sz="1000" b="1" i="0" u="none" strike="noStrike" dirty="0">
                        <a:solidFill>
                          <a:srgbClr val="000000"/>
                        </a:solidFill>
                        <a:effectLst/>
                        <a:latin typeface="Calibri" panose="020F0502020204030204" pitchFamily="34" charset="0"/>
                      </a:endParaRPr>
                    </a:p>
                  </a:txBody>
                  <a:tcPr marL="7625" marR="7625" marT="7625" marB="0" anchor="b"/>
                </a:tc>
                <a:tc>
                  <a:txBody>
                    <a:bodyPr/>
                    <a:lstStyle/>
                    <a:p>
                      <a:pPr algn="l" fontAlgn="b"/>
                      <a:r>
                        <a:rPr lang="de-DE" sz="1000" b="1" u="none" strike="noStrike" dirty="0">
                          <a:effectLst/>
                        </a:rPr>
                        <a:t>SIGUARD PDP</a:t>
                      </a:r>
                      <a:endParaRPr lang="de-DE" sz="1000" b="1" i="0" u="none" strike="noStrike" dirty="0">
                        <a:solidFill>
                          <a:srgbClr val="000000"/>
                        </a:solidFill>
                        <a:effectLst/>
                        <a:latin typeface="Calibri" panose="020F0502020204030204" pitchFamily="34" charset="0"/>
                      </a:endParaRPr>
                    </a:p>
                  </a:txBody>
                  <a:tcPr marL="7625" marR="7625" marT="7625" marB="0" anchor="b"/>
                </a:tc>
                <a:tc>
                  <a:txBody>
                    <a:bodyPr/>
                    <a:lstStyle/>
                    <a:p>
                      <a:pPr algn="l" fontAlgn="b"/>
                      <a:r>
                        <a:rPr lang="de-DE" sz="1000" b="1" u="none" strike="noStrike" dirty="0">
                          <a:effectLst/>
                        </a:rPr>
                        <a:t>SIGUARD PDP</a:t>
                      </a:r>
                      <a:endParaRPr lang="de-DE" sz="1000" b="1" i="0" u="none" strike="noStrike" dirty="0">
                        <a:solidFill>
                          <a:srgbClr val="000000"/>
                        </a:solidFill>
                        <a:effectLst/>
                        <a:latin typeface="Calibri" panose="020F0502020204030204" pitchFamily="34" charset="0"/>
                      </a:endParaRPr>
                    </a:p>
                  </a:txBody>
                  <a:tcPr marL="7625" marR="7625" marT="7625" marB="0" anchor="b"/>
                </a:tc>
                <a:extLst>
                  <a:ext uri="{0D108BD9-81ED-4DB2-BD59-A6C34878D82A}">
                    <a16:rowId xmlns:a16="http://schemas.microsoft.com/office/drawing/2014/main" val="2688986007"/>
                  </a:ext>
                </a:extLst>
              </a:tr>
            </a:tbl>
          </a:graphicData>
        </a:graphic>
      </p:graphicFrame>
      <p:sp>
        <p:nvSpPr>
          <p:cNvPr id="6" name="Rechteck 5">
            <a:extLst>
              <a:ext uri="{FF2B5EF4-FFF2-40B4-BE49-F238E27FC236}">
                <a16:creationId xmlns:a16="http://schemas.microsoft.com/office/drawing/2014/main" id="{46F3FB18-F3BF-41E1-BDB4-6D479D1779D9}"/>
              </a:ext>
            </a:extLst>
          </p:cNvPr>
          <p:cNvSpPr/>
          <p:nvPr/>
        </p:nvSpPr>
        <p:spPr bwMode="auto">
          <a:xfrm>
            <a:off x="1819275" y="1881448"/>
            <a:ext cx="9530575" cy="576001"/>
          </a:xfrm>
          <a:prstGeom prst="rect">
            <a:avLst/>
          </a:prstGeom>
          <a:noFill/>
          <a:ln w="57150">
            <a:solidFill>
              <a:srgbClr val="FFB900"/>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2" name="Rechteck 1">
            <a:extLst>
              <a:ext uri="{FF2B5EF4-FFF2-40B4-BE49-F238E27FC236}">
                <a16:creationId xmlns:a16="http://schemas.microsoft.com/office/drawing/2014/main" id="{AA025E90-9559-45A0-B48F-C5DF406FFE64}"/>
              </a:ext>
            </a:extLst>
          </p:cNvPr>
          <p:cNvSpPr/>
          <p:nvPr/>
        </p:nvSpPr>
        <p:spPr>
          <a:xfrm>
            <a:off x="607191" y="2457449"/>
            <a:ext cx="10723609" cy="3381376"/>
          </a:xfrm>
          <a:prstGeom prst="rect">
            <a:avLst/>
          </a:prstGeom>
          <a:solidFill>
            <a:srgbClr val="009999">
              <a:alpha val="6902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nchorCtr="0"/>
          <a:lstStyle/>
          <a:p>
            <a:pPr algn="l"/>
            <a:endParaRPr lang="en-US" dirty="0"/>
          </a:p>
        </p:txBody>
      </p:sp>
      <p:sp>
        <p:nvSpPr>
          <p:cNvPr id="7" name="Rechteck 6">
            <a:extLst>
              <a:ext uri="{FF2B5EF4-FFF2-40B4-BE49-F238E27FC236}">
                <a16:creationId xmlns:a16="http://schemas.microsoft.com/office/drawing/2014/main" id="{C43819E6-08F8-48B9-A9F4-DD289A98AC6B}"/>
              </a:ext>
            </a:extLst>
          </p:cNvPr>
          <p:cNvSpPr/>
          <p:nvPr/>
        </p:nvSpPr>
        <p:spPr bwMode="auto">
          <a:xfrm>
            <a:off x="577110" y="5849903"/>
            <a:ext cx="10772740" cy="322158"/>
          </a:xfrm>
          <a:prstGeom prst="rect">
            <a:avLst/>
          </a:prstGeom>
          <a:noFill/>
          <a:ln w="57150">
            <a:solidFill>
              <a:srgbClr val="FFB900"/>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 name="Fußzeilenplatzhalter 7">
            <a:extLst>
              <a:ext uri="{FF2B5EF4-FFF2-40B4-BE49-F238E27FC236}">
                <a16:creationId xmlns:a16="http://schemas.microsoft.com/office/drawing/2014/main" id="{6B44C2A9-6FF3-4619-BDD8-B1ACB10E6318}"/>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9" name="Foliennummernplatzhalter 8">
            <a:extLst>
              <a:ext uri="{FF2B5EF4-FFF2-40B4-BE49-F238E27FC236}">
                <a16:creationId xmlns:a16="http://schemas.microsoft.com/office/drawing/2014/main" id="{9553CB2C-5A46-47F9-B0C5-5055E5BC6419}"/>
              </a:ext>
            </a:extLst>
          </p:cNvPr>
          <p:cNvSpPr>
            <a:spLocks noGrp="1"/>
          </p:cNvSpPr>
          <p:nvPr>
            <p:ph type="sldNum" sz="quarter" idx="11"/>
          </p:nvPr>
        </p:nvSpPr>
        <p:spPr/>
        <p:txBody>
          <a:bodyPr/>
          <a:lstStyle/>
          <a:p>
            <a:r>
              <a:rPr lang="en-US"/>
              <a:t>Page </a:t>
            </a:r>
            <a:fld id="{15EBE321-CBB1-4E91-BD14-37C8D44326FB}" type="slidenum">
              <a:rPr lang="en-US" smtClean="0"/>
              <a:pPr/>
              <a:t>11</a:t>
            </a:fld>
            <a:endParaRPr lang="en-US" dirty="0"/>
          </a:p>
        </p:txBody>
      </p:sp>
    </p:spTree>
    <p:extLst>
      <p:ext uri="{BB962C8B-B14F-4D97-AF65-F5344CB8AC3E}">
        <p14:creationId xmlns:p14="http://schemas.microsoft.com/office/powerpoint/2010/main" val="19243901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2"/>
                                        </p:tgtEl>
                                        <p:attrNameLst>
                                          <p:attrName>style.visibility</p:attrName>
                                        </p:attrNameLst>
                                      </p:cBhvr>
                                      <p:to>
                                        <p:strVal val="visible"/>
                                      </p:to>
                                    </p:set>
                                    <p:anim calcmode="lin" valueType="num">
                                      <p:cBhvr>
                                        <p:cTn id="14" dur="500" fill="hold"/>
                                        <p:tgtEl>
                                          <p:spTgt spid="2"/>
                                        </p:tgtEl>
                                        <p:attrNameLst>
                                          <p:attrName>ppt_w</p:attrName>
                                        </p:attrNameLst>
                                      </p:cBhvr>
                                      <p:tavLst>
                                        <p:tav tm="0">
                                          <p:val>
                                            <p:fltVal val="0"/>
                                          </p:val>
                                        </p:tav>
                                        <p:tav tm="100000">
                                          <p:val>
                                            <p:strVal val="#ppt_w"/>
                                          </p:val>
                                        </p:tav>
                                      </p:tavLst>
                                    </p:anim>
                                    <p:anim calcmode="lin" valueType="num">
                                      <p:cBhvr>
                                        <p:cTn id="15" dur="500" fill="hold"/>
                                        <p:tgtEl>
                                          <p:spTgt spid="2"/>
                                        </p:tgtEl>
                                        <p:attrNameLst>
                                          <p:attrName>ppt_h</p:attrName>
                                        </p:attrNameLst>
                                      </p:cBhvr>
                                      <p:tavLst>
                                        <p:tav tm="0">
                                          <p:val>
                                            <p:fltVal val="0"/>
                                          </p:val>
                                        </p:tav>
                                        <p:tav tm="100000">
                                          <p:val>
                                            <p:strVal val="#ppt_h"/>
                                          </p:val>
                                        </p:tav>
                                      </p:tavLst>
                                    </p:anim>
                                    <p:animEffect transition="in" filter="fade">
                                      <p:cBhvr>
                                        <p:cTn id="16" dur="500"/>
                                        <p:tgtEl>
                                          <p:spTgt spid="2"/>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500"/>
                                        <p:tgtEl>
                                          <p:spTgt spid="6"/>
                                        </p:tgtEl>
                                      </p:cBhvr>
                                    </p:animEffect>
                                  </p:childTnLst>
                                </p:cTn>
                              </p:par>
                            </p:childTnLst>
                          </p:cTn>
                        </p:par>
                        <p:par>
                          <p:cTn id="21" fill="hold">
                            <p:stCondLst>
                              <p:cond delay="1000"/>
                            </p:stCondLst>
                            <p:childTnLst>
                              <p:par>
                                <p:cTn id="22" presetID="2" presetClass="entr" presetSubtype="4" fill="hold" grpId="0" nodeType="afterEffect">
                                  <p:stCondLst>
                                    <p:cond delay="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500" fill="hold"/>
                                        <p:tgtEl>
                                          <p:spTgt spid="7"/>
                                        </p:tgtEl>
                                        <p:attrNameLst>
                                          <p:attrName>ppt_x</p:attrName>
                                        </p:attrNameLst>
                                      </p:cBhvr>
                                      <p:tavLst>
                                        <p:tav tm="0">
                                          <p:val>
                                            <p:strVal val="#ppt_x"/>
                                          </p:val>
                                        </p:tav>
                                        <p:tav tm="100000">
                                          <p:val>
                                            <p:strVal val="#ppt_x"/>
                                          </p:val>
                                        </p:tav>
                                      </p:tavLst>
                                    </p:anim>
                                    <p:anim calcmode="lin" valueType="num">
                                      <p:cBhvr additive="base">
                                        <p:cTn id="25"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animBg="1"/>
      <p:bldP spid="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D2B8615-B457-4E4D-BCEB-E814776317AD}"/>
              </a:ext>
            </a:extLst>
          </p:cNvPr>
          <p:cNvSpPr>
            <a:spLocks noGrp="1"/>
          </p:cNvSpPr>
          <p:nvPr>
            <p:ph type="title"/>
          </p:nvPr>
        </p:nvSpPr>
        <p:spPr/>
        <p:txBody>
          <a:bodyPr/>
          <a:lstStyle/>
          <a:p>
            <a:r>
              <a:rPr lang="de-DE" dirty="0"/>
              <a:t>SIGUARD PDP</a:t>
            </a:r>
            <a:br>
              <a:rPr lang="de-DE" dirty="0"/>
            </a:br>
            <a:r>
              <a:rPr lang="en-US" dirty="0"/>
              <a:t>Oscillation monitoring application</a:t>
            </a:r>
          </a:p>
        </p:txBody>
      </p:sp>
      <p:sp>
        <p:nvSpPr>
          <p:cNvPr id="3" name="Inhaltsplatzhalter 3">
            <a:extLst>
              <a:ext uri="{FF2B5EF4-FFF2-40B4-BE49-F238E27FC236}">
                <a16:creationId xmlns:a16="http://schemas.microsoft.com/office/drawing/2014/main" id="{C413606D-C96D-45AF-BB43-38782809F3B1}"/>
              </a:ext>
            </a:extLst>
          </p:cNvPr>
          <p:cNvSpPr txBox="1">
            <a:spLocks/>
          </p:cNvSpPr>
          <p:nvPr/>
        </p:nvSpPr>
        <p:spPr>
          <a:xfrm>
            <a:off x="626737" y="1413925"/>
            <a:ext cx="9931435" cy="4750501"/>
          </a:xfrm>
          <a:prstGeom prst="rect">
            <a:avLst/>
          </a:prstGeom>
        </p:spPr>
        <p:txBody>
          <a:bodyPr lIns="0" tIns="0" rIns="107944"/>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buFont typeface="Arial" panose="020B0604020202020204" pitchFamily="34" charset="0"/>
              <a:buChar char="•"/>
            </a:pPr>
            <a:r>
              <a:rPr lang="en-US" sz="1799" b="1" kern="0" dirty="0"/>
              <a:t>Power Swing Recognition application (oscillation monitoring)</a:t>
            </a:r>
          </a:p>
          <a:p>
            <a:pPr marL="644203" lvl="2" indent="-285607">
              <a:buFont typeface="Arial" panose="020B0604020202020204" pitchFamily="34" charset="0"/>
              <a:buChar char="•"/>
            </a:pPr>
            <a:r>
              <a:rPr lang="en-US" sz="1799" i="1" kern="0" dirty="0"/>
              <a:t>Normal</a:t>
            </a:r>
            <a:r>
              <a:rPr lang="en-US" sz="1799" kern="0" dirty="0"/>
              <a:t> (0.05 Hz – 5 Hz) or </a:t>
            </a:r>
            <a:r>
              <a:rPr lang="en-US" sz="1799" i="1" kern="0" dirty="0"/>
              <a:t>extended frequency range </a:t>
            </a:r>
            <a:r>
              <a:rPr lang="en-US" sz="1799" kern="0" dirty="0"/>
              <a:t>(0.015 – 30 Hz, upper limit depending on PMU reporting rate)</a:t>
            </a:r>
          </a:p>
          <a:p>
            <a:pPr marL="644203" lvl="2" indent="-285607">
              <a:buFont typeface="Arial" panose="020B0604020202020204" pitchFamily="34" charset="0"/>
              <a:buChar char="•"/>
            </a:pPr>
            <a:r>
              <a:rPr lang="en-US" sz="1799" i="1" kern="0" dirty="0"/>
              <a:t>Active power, voltage phase angle difference </a:t>
            </a:r>
            <a:r>
              <a:rPr lang="en-US" sz="1799" kern="0" dirty="0"/>
              <a:t>and </a:t>
            </a:r>
            <a:r>
              <a:rPr lang="en-US" sz="1799" i="1" kern="0" dirty="0"/>
              <a:t>power frequency </a:t>
            </a:r>
            <a:r>
              <a:rPr lang="en-US" sz="1799" kern="0" dirty="0"/>
              <a:t>as input values</a:t>
            </a:r>
          </a:p>
          <a:p>
            <a:pPr marL="644203" lvl="2" indent="-285607">
              <a:buFont typeface="Arial" panose="020B0604020202020204" pitchFamily="34" charset="0"/>
              <a:buChar char="•"/>
            </a:pPr>
            <a:r>
              <a:rPr lang="en-US" sz="1799" kern="0" dirty="0"/>
              <a:t>Individual configurable </a:t>
            </a:r>
            <a:r>
              <a:rPr lang="en-US" sz="1799" i="1" kern="0" dirty="0"/>
              <a:t>jobs</a:t>
            </a:r>
            <a:r>
              <a:rPr lang="en-US" sz="1799" kern="0" dirty="0"/>
              <a:t> for each PMU location</a:t>
            </a:r>
          </a:p>
          <a:p>
            <a:pPr marL="644203" lvl="2" indent="-285607">
              <a:buFont typeface="Arial" panose="020B0604020202020204" pitchFamily="34" charset="0"/>
              <a:buChar char="•"/>
            </a:pPr>
            <a:r>
              <a:rPr lang="en-US" sz="1799" kern="0" dirty="0"/>
              <a:t>Combination of job results into </a:t>
            </a:r>
            <a:r>
              <a:rPr lang="en-US" sz="1799" i="1" kern="0" dirty="0"/>
              <a:t>global mode view</a:t>
            </a:r>
          </a:p>
          <a:p>
            <a:pPr marL="644203" lvl="2" indent="-285607">
              <a:buFont typeface="Arial" panose="020B0604020202020204" pitchFamily="34" charset="0"/>
              <a:buChar char="•"/>
            </a:pPr>
            <a:r>
              <a:rPr lang="en-US" sz="1799" kern="0" dirty="0"/>
              <a:t>Output results:</a:t>
            </a:r>
          </a:p>
          <a:p>
            <a:pPr marL="1002798" lvl="4" indent="-285607">
              <a:buFont typeface="Arial" panose="020B0604020202020204" pitchFamily="34" charset="0"/>
              <a:buChar char="•"/>
            </a:pPr>
            <a:r>
              <a:rPr lang="en-US" sz="1799" kern="0" dirty="0"/>
              <a:t>Mode frequency</a:t>
            </a:r>
          </a:p>
          <a:p>
            <a:pPr marL="1002798" lvl="4" indent="-285607">
              <a:buFont typeface="Arial" panose="020B0604020202020204" pitchFamily="34" charset="0"/>
              <a:buChar char="•"/>
            </a:pPr>
            <a:r>
              <a:rPr lang="en-US" sz="1799" kern="0" dirty="0"/>
              <a:t>Magnitude</a:t>
            </a:r>
          </a:p>
          <a:p>
            <a:pPr marL="1002798" lvl="4" indent="-285607">
              <a:buFont typeface="Arial" panose="020B0604020202020204" pitchFamily="34" charset="0"/>
              <a:buChar char="•"/>
            </a:pPr>
            <a:r>
              <a:rPr lang="en-US" sz="1799" kern="0" dirty="0"/>
              <a:t>Damping</a:t>
            </a:r>
          </a:p>
          <a:p>
            <a:pPr marL="1002798" lvl="4" indent="-285607">
              <a:buFont typeface="Arial" panose="020B0604020202020204" pitchFamily="34" charset="0"/>
              <a:buChar char="•"/>
            </a:pPr>
            <a:r>
              <a:rPr lang="en-US" sz="1799" kern="0" dirty="0"/>
              <a:t>Criticality (based on magnitude and damping) with consistent coloring in UI</a:t>
            </a:r>
          </a:p>
          <a:p>
            <a:pPr marL="1002798" lvl="4" indent="-285607">
              <a:buFont typeface="Arial" panose="020B0604020202020204" pitchFamily="34" charset="0"/>
              <a:buChar char="•"/>
            </a:pPr>
            <a:r>
              <a:rPr lang="en-US" sz="1799" kern="0" dirty="0"/>
              <a:t>Mode shape (for active power)</a:t>
            </a:r>
          </a:p>
          <a:p>
            <a:pPr marL="1002798" lvl="4" indent="-285607">
              <a:buFont typeface="Arial" panose="020B0604020202020204" pitchFamily="34" charset="0"/>
              <a:buChar char="•"/>
            </a:pPr>
            <a:r>
              <a:rPr lang="en-US" sz="1799" kern="0" dirty="0"/>
              <a:t>Coherence (end points of oscillations)</a:t>
            </a:r>
          </a:p>
          <a:p>
            <a:pPr marL="644203" lvl="2" indent="-285607">
              <a:buFont typeface="Arial" panose="020B0604020202020204" pitchFamily="34" charset="0"/>
              <a:buChar char="•"/>
            </a:pPr>
            <a:r>
              <a:rPr lang="en-US" sz="1799" kern="0" dirty="0"/>
              <a:t>Study mode for configuration optimization based on already recorded events</a:t>
            </a:r>
          </a:p>
          <a:p>
            <a:pPr marL="644203" lvl="2" indent="-285607">
              <a:buFont typeface="Arial" panose="020B0604020202020204" pitchFamily="34" charset="0"/>
              <a:buChar char="•"/>
            </a:pPr>
            <a:r>
              <a:rPr lang="en-US" sz="1799" kern="0" dirty="0"/>
              <a:t>All results stored in SIGUARD PDP archive for later analysis</a:t>
            </a:r>
          </a:p>
        </p:txBody>
      </p:sp>
      <p:sp>
        <p:nvSpPr>
          <p:cNvPr id="4" name="Fußzeilenplatzhalter 3">
            <a:extLst>
              <a:ext uri="{FF2B5EF4-FFF2-40B4-BE49-F238E27FC236}">
                <a16:creationId xmlns:a16="http://schemas.microsoft.com/office/drawing/2014/main" id="{D0382C90-668A-4B82-A2CD-2729D93D336A}"/>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414D94A1-7AFD-4FE1-A76A-8184A4F29379}"/>
              </a:ext>
            </a:extLst>
          </p:cNvPr>
          <p:cNvSpPr>
            <a:spLocks noGrp="1"/>
          </p:cNvSpPr>
          <p:nvPr>
            <p:ph type="sldNum" sz="quarter" idx="11"/>
          </p:nvPr>
        </p:nvSpPr>
        <p:spPr/>
        <p:txBody>
          <a:bodyPr/>
          <a:lstStyle/>
          <a:p>
            <a:r>
              <a:rPr lang="en-US"/>
              <a:t>Page </a:t>
            </a:r>
            <a:fld id="{15EBE321-CBB1-4E91-BD14-37C8D44326FB}" type="slidenum">
              <a:rPr lang="en-US" smtClean="0"/>
              <a:pPr/>
              <a:t>12</a:t>
            </a:fld>
            <a:endParaRPr lang="en-US" dirty="0"/>
          </a:p>
        </p:txBody>
      </p:sp>
    </p:spTree>
    <p:extLst>
      <p:ext uri="{BB962C8B-B14F-4D97-AF65-F5344CB8AC3E}">
        <p14:creationId xmlns:p14="http://schemas.microsoft.com/office/powerpoint/2010/main" val="232073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Effect transition="in" filter="fade">
                                      <p:cBhvr>
                                        <p:cTn id="27" dur="500"/>
                                        <p:tgtEl>
                                          <p:spTgt spid="3">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6" end="6"/>
                                            </p:txEl>
                                          </p:spTgt>
                                        </p:tgtEl>
                                        <p:attrNameLst>
                                          <p:attrName>style.visibility</p:attrName>
                                        </p:attrNameLst>
                                      </p:cBhvr>
                                      <p:to>
                                        <p:strVal val="visible"/>
                                      </p:to>
                                    </p:set>
                                    <p:animEffect transition="in" filter="fade">
                                      <p:cBhvr>
                                        <p:cTn id="32" dur="500"/>
                                        <p:tgtEl>
                                          <p:spTgt spid="3">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7" end="7"/>
                                            </p:txEl>
                                          </p:spTgt>
                                        </p:tgtEl>
                                        <p:attrNameLst>
                                          <p:attrName>style.visibility</p:attrName>
                                        </p:attrNameLst>
                                      </p:cBhvr>
                                      <p:to>
                                        <p:strVal val="visible"/>
                                      </p:to>
                                    </p:set>
                                    <p:animEffect transition="in" filter="fade">
                                      <p:cBhvr>
                                        <p:cTn id="37" dur="500"/>
                                        <p:tgtEl>
                                          <p:spTgt spid="3">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8" end="8"/>
                                            </p:txEl>
                                          </p:spTgt>
                                        </p:tgtEl>
                                        <p:attrNameLst>
                                          <p:attrName>style.visibility</p:attrName>
                                        </p:attrNameLst>
                                      </p:cBhvr>
                                      <p:to>
                                        <p:strVal val="visible"/>
                                      </p:to>
                                    </p:set>
                                    <p:animEffect transition="in" filter="fade">
                                      <p:cBhvr>
                                        <p:cTn id="42" dur="500"/>
                                        <p:tgtEl>
                                          <p:spTgt spid="3">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9" end="9"/>
                                            </p:txEl>
                                          </p:spTgt>
                                        </p:tgtEl>
                                        <p:attrNameLst>
                                          <p:attrName>style.visibility</p:attrName>
                                        </p:attrNameLst>
                                      </p:cBhvr>
                                      <p:to>
                                        <p:strVal val="visible"/>
                                      </p:to>
                                    </p:set>
                                    <p:animEffect transition="in" filter="fade">
                                      <p:cBhvr>
                                        <p:cTn id="47" dur="500"/>
                                        <p:tgtEl>
                                          <p:spTgt spid="3">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10" end="10"/>
                                            </p:txEl>
                                          </p:spTgt>
                                        </p:tgtEl>
                                        <p:attrNameLst>
                                          <p:attrName>style.visibility</p:attrName>
                                        </p:attrNameLst>
                                      </p:cBhvr>
                                      <p:to>
                                        <p:strVal val="visible"/>
                                      </p:to>
                                    </p:set>
                                    <p:animEffect transition="in" filter="fade">
                                      <p:cBhvr>
                                        <p:cTn id="52" dur="500"/>
                                        <p:tgtEl>
                                          <p:spTgt spid="3">
                                            <p:txEl>
                                              <p:pRg st="10" end="1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1" end="11"/>
                                            </p:txEl>
                                          </p:spTgt>
                                        </p:tgtEl>
                                        <p:attrNameLst>
                                          <p:attrName>style.visibility</p:attrName>
                                        </p:attrNameLst>
                                      </p:cBhvr>
                                      <p:to>
                                        <p:strVal val="visible"/>
                                      </p:to>
                                    </p:set>
                                    <p:animEffect transition="in" filter="fade">
                                      <p:cBhvr>
                                        <p:cTn id="57" dur="500"/>
                                        <p:tgtEl>
                                          <p:spTgt spid="3">
                                            <p:txEl>
                                              <p:pRg st="11" end="11"/>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
                                            <p:txEl>
                                              <p:pRg st="12" end="12"/>
                                            </p:txEl>
                                          </p:spTgt>
                                        </p:tgtEl>
                                        <p:attrNameLst>
                                          <p:attrName>style.visibility</p:attrName>
                                        </p:attrNameLst>
                                      </p:cBhvr>
                                      <p:to>
                                        <p:strVal val="visible"/>
                                      </p:to>
                                    </p:set>
                                    <p:animEffect transition="in" filter="fade">
                                      <p:cBhvr>
                                        <p:cTn id="62" dur="500"/>
                                        <p:tgtEl>
                                          <p:spTgt spid="3">
                                            <p:txEl>
                                              <p:pRg st="12" end="12"/>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3">
                                            <p:txEl>
                                              <p:pRg st="13" end="13"/>
                                            </p:txEl>
                                          </p:spTgt>
                                        </p:tgtEl>
                                        <p:attrNameLst>
                                          <p:attrName>style.visibility</p:attrName>
                                        </p:attrNameLst>
                                      </p:cBhvr>
                                      <p:to>
                                        <p:strVal val="visible"/>
                                      </p:to>
                                    </p:set>
                                    <p:animEffect transition="in" filter="fade">
                                      <p:cBhvr>
                                        <p:cTn id="67"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uppieren 16">
            <a:extLst>
              <a:ext uri="{FF2B5EF4-FFF2-40B4-BE49-F238E27FC236}">
                <a16:creationId xmlns:a16="http://schemas.microsoft.com/office/drawing/2014/main" id="{C766C541-6861-4FB9-B1BD-809BE997A3A8}"/>
              </a:ext>
            </a:extLst>
          </p:cNvPr>
          <p:cNvGrpSpPr/>
          <p:nvPr/>
        </p:nvGrpSpPr>
        <p:grpSpPr>
          <a:xfrm>
            <a:off x="3289150" y="1441036"/>
            <a:ext cx="8780403" cy="4883818"/>
            <a:chOff x="3290863" y="1440000"/>
            <a:chExt cx="8784976" cy="4886362"/>
          </a:xfrm>
        </p:grpSpPr>
        <p:pic>
          <p:nvPicPr>
            <p:cNvPr id="4" name="Grafik 3">
              <a:extLst>
                <a:ext uri="{FF2B5EF4-FFF2-40B4-BE49-F238E27FC236}">
                  <a16:creationId xmlns:a16="http://schemas.microsoft.com/office/drawing/2014/main" id="{5DE133BB-EAC9-46C3-853F-D2D7D5083FAC}"/>
                </a:ext>
              </a:extLst>
            </p:cNvPr>
            <p:cNvPicPr>
              <a:picLocks noChangeAspect="1"/>
            </p:cNvPicPr>
            <p:nvPr/>
          </p:nvPicPr>
          <p:blipFill>
            <a:blip r:embed="rId2"/>
            <a:stretch>
              <a:fillRect/>
            </a:stretch>
          </p:blipFill>
          <p:spPr>
            <a:xfrm>
              <a:off x="3290863" y="1440000"/>
              <a:ext cx="8784976" cy="4886362"/>
            </a:xfrm>
            <a:prstGeom prst="rect">
              <a:avLst/>
            </a:prstGeom>
          </p:spPr>
        </p:pic>
        <p:pic>
          <p:nvPicPr>
            <p:cNvPr id="7" name="Grafik 6">
              <a:extLst>
                <a:ext uri="{FF2B5EF4-FFF2-40B4-BE49-F238E27FC236}">
                  <a16:creationId xmlns:a16="http://schemas.microsoft.com/office/drawing/2014/main" id="{53F5F1A5-94FF-4194-8EE2-C75E694B9D64}"/>
                </a:ext>
              </a:extLst>
            </p:cNvPr>
            <p:cNvPicPr>
              <a:picLocks noChangeAspect="1"/>
            </p:cNvPicPr>
            <p:nvPr/>
          </p:nvPicPr>
          <p:blipFill>
            <a:blip r:embed="rId3"/>
            <a:stretch>
              <a:fillRect/>
            </a:stretch>
          </p:blipFill>
          <p:spPr>
            <a:xfrm>
              <a:off x="6502651" y="1712521"/>
              <a:ext cx="504056" cy="324144"/>
            </a:xfrm>
            <a:prstGeom prst="rect">
              <a:avLst/>
            </a:prstGeom>
          </p:spPr>
        </p:pic>
        <p:pic>
          <p:nvPicPr>
            <p:cNvPr id="12" name="Grafik 11">
              <a:extLst>
                <a:ext uri="{FF2B5EF4-FFF2-40B4-BE49-F238E27FC236}">
                  <a16:creationId xmlns:a16="http://schemas.microsoft.com/office/drawing/2014/main" id="{D34B8717-9AC7-414A-A610-33641B7DBACD}"/>
                </a:ext>
              </a:extLst>
            </p:cNvPr>
            <p:cNvPicPr>
              <a:picLocks noChangeAspect="1"/>
            </p:cNvPicPr>
            <p:nvPr/>
          </p:nvPicPr>
          <p:blipFill>
            <a:blip r:embed="rId4"/>
            <a:stretch>
              <a:fillRect/>
            </a:stretch>
          </p:blipFill>
          <p:spPr>
            <a:xfrm>
              <a:off x="5892676" y="1703801"/>
              <a:ext cx="504056" cy="335244"/>
            </a:xfrm>
            <a:prstGeom prst="rect">
              <a:avLst/>
            </a:prstGeom>
          </p:spPr>
        </p:pic>
        <p:pic>
          <p:nvPicPr>
            <p:cNvPr id="13" name="Grafik 12">
              <a:extLst>
                <a:ext uri="{FF2B5EF4-FFF2-40B4-BE49-F238E27FC236}">
                  <a16:creationId xmlns:a16="http://schemas.microsoft.com/office/drawing/2014/main" id="{CC840C12-653D-4CDB-BDA0-5CDE32AF859B}"/>
                </a:ext>
              </a:extLst>
            </p:cNvPr>
            <p:cNvPicPr>
              <a:picLocks noChangeAspect="1"/>
            </p:cNvPicPr>
            <p:nvPr/>
          </p:nvPicPr>
          <p:blipFill>
            <a:blip r:embed="rId3"/>
            <a:stretch>
              <a:fillRect/>
            </a:stretch>
          </p:blipFill>
          <p:spPr>
            <a:xfrm>
              <a:off x="8305231" y="1708400"/>
              <a:ext cx="504056" cy="324144"/>
            </a:xfrm>
            <a:prstGeom prst="rect">
              <a:avLst/>
            </a:prstGeom>
          </p:spPr>
        </p:pic>
        <p:pic>
          <p:nvPicPr>
            <p:cNvPr id="14" name="Grafik 13">
              <a:extLst>
                <a:ext uri="{FF2B5EF4-FFF2-40B4-BE49-F238E27FC236}">
                  <a16:creationId xmlns:a16="http://schemas.microsoft.com/office/drawing/2014/main" id="{E6612DA7-F635-46AC-AE37-3E26A6645E87}"/>
                </a:ext>
              </a:extLst>
            </p:cNvPr>
            <p:cNvPicPr>
              <a:picLocks noChangeAspect="1"/>
            </p:cNvPicPr>
            <p:nvPr/>
          </p:nvPicPr>
          <p:blipFill>
            <a:blip r:embed="rId4"/>
            <a:stretch>
              <a:fillRect/>
            </a:stretch>
          </p:blipFill>
          <p:spPr>
            <a:xfrm>
              <a:off x="7695256" y="1699680"/>
              <a:ext cx="504056" cy="335244"/>
            </a:xfrm>
            <a:prstGeom prst="rect">
              <a:avLst/>
            </a:prstGeom>
          </p:spPr>
        </p:pic>
        <p:pic>
          <p:nvPicPr>
            <p:cNvPr id="15" name="Grafik 14">
              <a:extLst>
                <a:ext uri="{FF2B5EF4-FFF2-40B4-BE49-F238E27FC236}">
                  <a16:creationId xmlns:a16="http://schemas.microsoft.com/office/drawing/2014/main" id="{8A8E6585-A555-4999-8DB0-786BC4B886F6}"/>
                </a:ext>
              </a:extLst>
            </p:cNvPr>
            <p:cNvPicPr>
              <a:picLocks noChangeAspect="1"/>
            </p:cNvPicPr>
            <p:nvPr/>
          </p:nvPicPr>
          <p:blipFill>
            <a:blip r:embed="rId3"/>
            <a:stretch>
              <a:fillRect/>
            </a:stretch>
          </p:blipFill>
          <p:spPr>
            <a:xfrm>
              <a:off x="10186964" y="1738032"/>
              <a:ext cx="504056" cy="324144"/>
            </a:xfrm>
            <a:prstGeom prst="rect">
              <a:avLst/>
            </a:prstGeom>
          </p:spPr>
        </p:pic>
        <p:pic>
          <p:nvPicPr>
            <p:cNvPr id="16" name="Grafik 15">
              <a:extLst>
                <a:ext uri="{FF2B5EF4-FFF2-40B4-BE49-F238E27FC236}">
                  <a16:creationId xmlns:a16="http://schemas.microsoft.com/office/drawing/2014/main" id="{B710E79E-811E-449D-936A-747E86F8B18A}"/>
                </a:ext>
              </a:extLst>
            </p:cNvPr>
            <p:cNvPicPr>
              <a:picLocks noChangeAspect="1"/>
            </p:cNvPicPr>
            <p:nvPr/>
          </p:nvPicPr>
          <p:blipFill>
            <a:blip r:embed="rId4"/>
            <a:stretch>
              <a:fillRect/>
            </a:stretch>
          </p:blipFill>
          <p:spPr>
            <a:xfrm>
              <a:off x="9576989" y="1729312"/>
              <a:ext cx="504056" cy="335244"/>
            </a:xfrm>
            <a:prstGeom prst="rect">
              <a:avLst/>
            </a:prstGeom>
          </p:spPr>
        </p:pic>
      </p:grpSp>
      <p:sp>
        <p:nvSpPr>
          <p:cNvPr id="2" name="Titel 1">
            <a:extLst>
              <a:ext uri="{FF2B5EF4-FFF2-40B4-BE49-F238E27FC236}">
                <a16:creationId xmlns:a16="http://schemas.microsoft.com/office/drawing/2014/main" id="{0438C998-5F32-47E5-AE47-2DC7EF826A50}"/>
              </a:ext>
            </a:extLst>
          </p:cNvPr>
          <p:cNvSpPr>
            <a:spLocks noGrp="1"/>
          </p:cNvSpPr>
          <p:nvPr>
            <p:ph type="title"/>
          </p:nvPr>
        </p:nvSpPr>
        <p:spPr/>
        <p:txBody>
          <a:bodyPr/>
          <a:lstStyle/>
          <a:p>
            <a:r>
              <a:rPr lang="en-US" dirty="0"/>
              <a:t>SIGUARD PDP</a:t>
            </a:r>
            <a:br>
              <a:rPr lang="en-US" dirty="0"/>
            </a:br>
            <a:r>
              <a:rPr lang="en-US" dirty="0"/>
              <a:t>Architecture examples</a:t>
            </a:r>
          </a:p>
        </p:txBody>
      </p:sp>
      <p:sp>
        <p:nvSpPr>
          <p:cNvPr id="5" name="Inhaltsplatzhalter 4">
            <a:extLst>
              <a:ext uri="{FF2B5EF4-FFF2-40B4-BE49-F238E27FC236}">
                <a16:creationId xmlns:a16="http://schemas.microsoft.com/office/drawing/2014/main" id="{D4AB2125-5368-4A6D-A8E5-D20F6F033BB7}"/>
              </a:ext>
            </a:extLst>
          </p:cNvPr>
          <p:cNvSpPr>
            <a:spLocks noGrp="1"/>
          </p:cNvSpPr>
          <p:nvPr>
            <p:ph idx="4294967295"/>
          </p:nvPr>
        </p:nvSpPr>
        <p:spPr>
          <a:xfrm>
            <a:off x="446986" y="1441036"/>
            <a:ext cx="2662238" cy="4748213"/>
          </a:xfrm>
        </p:spPr>
        <p:txBody>
          <a:bodyPr/>
          <a:lstStyle/>
          <a:p>
            <a:r>
              <a:rPr lang="en-US" dirty="0"/>
              <a:t>SIGUARD PDP</a:t>
            </a:r>
          </a:p>
          <a:p>
            <a:endParaRPr lang="en-US" dirty="0"/>
          </a:p>
          <a:p>
            <a:endParaRPr lang="en-US" dirty="0"/>
          </a:p>
          <a:p>
            <a:r>
              <a:rPr lang="en-US" dirty="0"/>
              <a:t>at control center level</a:t>
            </a:r>
          </a:p>
          <a:p>
            <a:endParaRPr lang="en-US" dirty="0"/>
          </a:p>
          <a:p>
            <a:endParaRPr lang="en-US" dirty="0"/>
          </a:p>
          <a:p>
            <a:endParaRPr lang="en-US" dirty="0"/>
          </a:p>
          <a:p>
            <a:endParaRPr lang="en-US" dirty="0"/>
          </a:p>
          <a:p>
            <a:endParaRPr lang="en-US" dirty="0"/>
          </a:p>
          <a:p>
            <a:r>
              <a:rPr lang="en-US" dirty="0"/>
              <a:t>at substation level</a:t>
            </a:r>
          </a:p>
        </p:txBody>
      </p:sp>
      <p:sp>
        <p:nvSpPr>
          <p:cNvPr id="6" name="Rechteck 5">
            <a:extLst>
              <a:ext uri="{FF2B5EF4-FFF2-40B4-BE49-F238E27FC236}">
                <a16:creationId xmlns:a16="http://schemas.microsoft.com/office/drawing/2014/main" id="{6C044F29-2C6E-4F3F-8E0D-D1BC5372F362}"/>
              </a:ext>
            </a:extLst>
          </p:cNvPr>
          <p:cNvSpPr/>
          <p:nvPr/>
        </p:nvSpPr>
        <p:spPr bwMode="auto">
          <a:xfrm>
            <a:off x="5808118" y="2493383"/>
            <a:ext cx="4678083" cy="791676"/>
          </a:xfrm>
          <a:prstGeom prst="rect">
            <a:avLst/>
          </a:prstGeom>
          <a:noFill/>
          <a:ln w="57150">
            <a:solidFill>
              <a:srgbClr val="FFB900"/>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8" name="Gerade Verbindung mit Pfeil 7">
            <a:extLst>
              <a:ext uri="{FF2B5EF4-FFF2-40B4-BE49-F238E27FC236}">
                <a16:creationId xmlns:a16="http://schemas.microsoft.com/office/drawing/2014/main" id="{DB13B564-E771-4BF6-B932-DA73540BDD61}"/>
              </a:ext>
            </a:extLst>
          </p:cNvPr>
          <p:cNvCxnSpPr>
            <a:cxnSpLocks/>
          </p:cNvCxnSpPr>
          <p:nvPr/>
        </p:nvCxnSpPr>
        <p:spPr bwMode="auto">
          <a:xfrm>
            <a:off x="2771775" y="2678422"/>
            <a:ext cx="3036343" cy="211249"/>
          </a:xfrm>
          <a:prstGeom prst="straightConnector1">
            <a:avLst/>
          </a:prstGeom>
          <a:ln w="57150">
            <a:solidFill>
              <a:srgbClr val="FFC000"/>
            </a:solidFill>
            <a:headEnd type="none" w="med" len="med"/>
            <a:tailEnd type="triangle"/>
          </a:ln>
        </p:spPr>
        <p:style>
          <a:lnRef idx="1">
            <a:schemeClr val="accent3"/>
          </a:lnRef>
          <a:fillRef idx="0">
            <a:schemeClr val="accent3"/>
          </a:fillRef>
          <a:effectRef idx="0">
            <a:schemeClr val="accent3"/>
          </a:effectRef>
          <a:fontRef idx="minor">
            <a:schemeClr val="tx1"/>
          </a:fontRef>
        </p:style>
      </p:cxnSp>
      <p:sp>
        <p:nvSpPr>
          <p:cNvPr id="9" name="Rechteck 8">
            <a:extLst>
              <a:ext uri="{FF2B5EF4-FFF2-40B4-BE49-F238E27FC236}">
                <a16:creationId xmlns:a16="http://schemas.microsoft.com/office/drawing/2014/main" id="{EDB360D5-2D46-4FF8-923B-FD4E2CD89EE0}"/>
              </a:ext>
            </a:extLst>
          </p:cNvPr>
          <p:cNvSpPr/>
          <p:nvPr/>
        </p:nvSpPr>
        <p:spPr bwMode="auto">
          <a:xfrm>
            <a:off x="5951563" y="5533178"/>
            <a:ext cx="2447493" cy="342819"/>
          </a:xfrm>
          <a:prstGeom prst="rect">
            <a:avLst/>
          </a:prstGeom>
          <a:noFill/>
          <a:ln w="57150">
            <a:solidFill>
              <a:srgbClr val="FFB900"/>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cxnSp>
        <p:nvCxnSpPr>
          <p:cNvPr id="10" name="Gerade Verbindung mit Pfeil 9">
            <a:extLst>
              <a:ext uri="{FF2B5EF4-FFF2-40B4-BE49-F238E27FC236}">
                <a16:creationId xmlns:a16="http://schemas.microsoft.com/office/drawing/2014/main" id="{167B6C44-7A06-4832-AC3D-D71F58CEB0D9}"/>
              </a:ext>
            </a:extLst>
          </p:cNvPr>
          <p:cNvCxnSpPr>
            <a:cxnSpLocks/>
            <a:endCxn id="9" idx="1"/>
          </p:cNvCxnSpPr>
          <p:nvPr/>
        </p:nvCxnSpPr>
        <p:spPr bwMode="auto">
          <a:xfrm>
            <a:off x="2400300" y="4714875"/>
            <a:ext cx="3551263" cy="989713"/>
          </a:xfrm>
          <a:prstGeom prst="straightConnector1">
            <a:avLst/>
          </a:prstGeom>
          <a:ln w="57150">
            <a:solidFill>
              <a:srgbClr val="FFC000"/>
            </a:solidFill>
            <a:headEnd type="none" w="med" len="med"/>
            <a:tailEnd type="triangle"/>
          </a:ln>
        </p:spPr>
        <p:style>
          <a:lnRef idx="1">
            <a:schemeClr val="accent3"/>
          </a:lnRef>
          <a:fillRef idx="0">
            <a:schemeClr val="accent3"/>
          </a:fillRef>
          <a:effectRef idx="0">
            <a:schemeClr val="accent3"/>
          </a:effectRef>
          <a:fontRef idx="minor">
            <a:schemeClr val="tx1"/>
          </a:fontRef>
        </p:style>
      </p:cxnSp>
      <p:sp>
        <p:nvSpPr>
          <p:cNvPr id="18" name="Fußzeilenplatzhalter 17">
            <a:extLst>
              <a:ext uri="{FF2B5EF4-FFF2-40B4-BE49-F238E27FC236}">
                <a16:creationId xmlns:a16="http://schemas.microsoft.com/office/drawing/2014/main" id="{64094515-43E8-4DCB-9181-10A4AFCFD772}"/>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3" name="Foliennummernplatzhalter 2">
            <a:extLst>
              <a:ext uri="{FF2B5EF4-FFF2-40B4-BE49-F238E27FC236}">
                <a16:creationId xmlns:a16="http://schemas.microsoft.com/office/drawing/2014/main" id="{5D97504D-4783-46B2-ABEB-29FCAF83F5F2}"/>
              </a:ext>
            </a:extLst>
          </p:cNvPr>
          <p:cNvSpPr>
            <a:spLocks noGrp="1"/>
          </p:cNvSpPr>
          <p:nvPr>
            <p:ph type="sldNum" sz="quarter" idx="11"/>
          </p:nvPr>
        </p:nvSpPr>
        <p:spPr/>
        <p:txBody>
          <a:bodyPr/>
          <a:lstStyle/>
          <a:p>
            <a:r>
              <a:rPr lang="en-US"/>
              <a:t>Page </a:t>
            </a:r>
            <a:fld id="{15EBE321-CBB1-4E91-BD14-37C8D44326FB}" type="slidenum">
              <a:rPr lang="en-US" smtClean="0"/>
              <a:pPr/>
              <a:t>13</a:t>
            </a:fld>
            <a:endParaRPr lang="en-US" dirty="0"/>
          </a:p>
        </p:txBody>
      </p:sp>
    </p:spTree>
    <p:extLst>
      <p:ext uri="{BB962C8B-B14F-4D97-AF65-F5344CB8AC3E}">
        <p14:creationId xmlns:p14="http://schemas.microsoft.com/office/powerpoint/2010/main" val="562472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9" end="9"/>
                                            </p:txEl>
                                          </p:spTgt>
                                        </p:tgtEl>
                                        <p:attrNameLst>
                                          <p:attrName>style.visibility</p:attrName>
                                        </p:attrNameLst>
                                      </p:cBhvr>
                                      <p:to>
                                        <p:strVal val="visible"/>
                                      </p:to>
                                    </p:set>
                                    <p:anim calcmode="lin" valueType="num">
                                      <p:cBhvr additive="base">
                                        <p:cTn id="7" dur="500" fill="hold"/>
                                        <p:tgtEl>
                                          <p:spTgt spid="5">
                                            <p:txEl>
                                              <p:pRg st="9" end="9"/>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9" end="9"/>
                                            </p:txEl>
                                          </p:spTgt>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500" fill="hold"/>
                                        <p:tgtEl>
                                          <p:spTgt spid="10"/>
                                        </p:tgtEl>
                                        <p:attrNameLst>
                                          <p:attrName>ppt_x</p:attrName>
                                        </p:attrNameLst>
                                      </p:cBhvr>
                                      <p:tavLst>
                                        <p:tav tm="0">
                                          <p:val>
                                            <p:strVal val="#ppt_x"/>
                                          </p:val>
                                        </p:tav>
                                        <p:tav tm="100000">
                                          <p:val>
                                            <p:strVal val="#ppt_x"/>
                                          </p:val>
                                        </p:tav>
                                      </p:tavLst>
                                    </p:anim>
                                    <p:anim calcmode="lin" valueType="num">
                                      <p:cBhvr additive="base">
                                        <p:cTn id="13" dur="500" fill="hold"/>
                                        <p:tgtEl>
                                          <p:spTgt spid="10"/>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500" fill="hold"/>
                                        <p:tgtEl>
                                          <p:spTgt spid="9"/>
                                        </p:tgtEl>
                                        <p:attrNameLst>
                                          <p:attrName>ppt_x</p:attrName>
                                        </p:attrNameLst>
                                      </p:cBhvr>
                                      <p:tavLst>
                                        <p:tav tm="0">
                                          <p:val>
                                            <p:strVal val="#ppt_x"/>
                                          </p:val>
                                        </p:tav>
                                        <p:tav tm="100000">
                                          <p:val>
                                            <p:strVal val="#ppt_x"/>
                                          </p:val>
                                        </p:tav>
                                      </p:tavLst>
                                    </p:anim>
                                    <p:anim calcmode="lin" valueType="num">
                                      <p:cBhvr additive="base">
                                        <p:cTn id="17"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2" presetClass="entr" presetSubtype="4" fill="hold" nodeType="clickEffect">
                                  <p:stCondLst>
                                    <p:cond delay="0"/>
                                  </p:stCondLst>
                                  <p:childTnLst>
                                    <p:set>
                                      <p:cBhvr>
                                        <p:cTn id="21" dur="1" fill="hold">
                                          <p:stCondLst>
                                            <p:cond delay="0"/>
                                          </p:stCondLst>
                                        </p:cTn>
                                        <p:tgtEl>
                                          <p:spTgt spid="5">
                                            <p:txEl>
                                              <p:pRg st="3" end="3"/>
                                            </p:txEl>
                                          </p:spTgt>
                                        </p:tgtEl>
                                        <p:attrNameLst>
                                          <p:attrName>style.visibility</p:attrName>
                                        </p:attrNameLst>
                                      </p:cBhvr>
                                      <p:to>
                                        <p:strVal val="visible"/>
                                      </p:to>
                                    </p:set>
                                    <p:anim calcmode="lin" valueType="num">
                                      <p:cBhvr additive="base">
                                        <p:cTn id="22"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3"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par>
                          <p:cTn id="24" fill="hold">
                            <p:stCondLst>
                              <p:cond delay="500"/>
                            </p:stCondLst>
                            <p:childTnLst>
                              <p:par>
                                <p:cTn id="25" presetID="2" presetClass="entr" presetSubtype="4"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additive="base">
                                        <p:cTn id="31" dur="500" fill="hold"/>
                                        <p:tgtEl>
                                          <p:spTgt spid="6"/>
                                        </p:tgtEl>
                                        <p:attrNameLst>
                                          <p:attrName>ppt_x</p:attrName>
                                        </p:attrNameLst>
                                      </p:cBhvr>
                                      <p:tavLst>
                                        <p:tav tm="0">
                                          <p:val>
                                            <p:strVal val="#ppt_x"/>
                                          </p:val>
                                        </p:tav>
                                        <p:tav tm="100000">
                                          <p:val>
                                            <p:strVal val="#ppt_x"/>
                                          </p:val>
                                        </p:tav>
                                      </p:tavLst>
                                    </p:anim>
                                    <p:anim calcmode="lin" valueType="num">
                                      <p:cBhvr additive="base">
                                        <p:cTn id="32"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3BC329B-FCD4-43A6-895F-730CC141E5A6}"/>
              </a:ext>
            </a:extLst>
          </p:cNvPr>
          <p:cNvSpPr>
            <a:spLocks noGrp="1"/>
          </p:cNvSpPr>
          <p:nvPr>
            <p:ph type="title"/>
          </p:nvPr>
        </p:nvSpPr>
        <p:spPr/>
        <p:txBody>
          <a:bodyPr/>
          <a:lstStyle/>
          <a:p>
            <a:r>
              <a:rPr lang="en-US" dirty="0"/>
              <a:t>SIGUARD PDP</a:t>
            </a:r>
            <a:br>
              <a:rPr lang="en-US" dirty="0"/>
            </a:br>
            <a:r>
              <a:rPr lang="en-US" dirty="0"/>
              <a:t>Architecture examples</a:t>
            </a:r>
          </a:p>
        </p:txBody>
      </p:sp>
      <p:sp>
        <p:nvSpPr>
          <p:cNvPr id="3" name="Inhaltsplatzhalter 2">
            <a:extLst>
              <a:ext uri="{FF2B5EF4-FFF2-40B4-BE49-F238E27FC236}">
                <a16:creationId xmlns:a16="http://schemas.microsoft.com/office/drawing/2014/main" id="{752E8E18-4B0A-406A-8F39-C9607E33BD64}"/>
              </a:ext>
            </a:extLst>
          </p:cNvPr>
          <p:cNvSpPr>
            <a:spLocks noGrp="1"/>
          </p:cNvSpPr>
          <p:nvPr>
            <p:ph idx="4294967295"/>
          </p:nvPr>
        </p:nvSpPr>
        <p:spPr>
          <a:xfrm>
            <a:off x="457200" y="1368679"/>
            <a:ext cx="2590800" cy="4748213"/>
          </a:xfrm>
        </p:spPr>
        <p:txBody>
          <a:bodyPr/>
          <a:lstStyle/>
          <a:p>
            <a:r>
              <a:rPr lang="en-US" b="1" dirty="0"/>
              <a:t>Multisite</a:t>
            </a:r>
          </a:p>
          <a:p>
            <a:endParaRPr lang="en-US" dirty="0"/>
          </a:p>
          <a:p>
            <a:pPr marL="285607" indent="-285607">
              <a:buFont typeface="Arial" panose="020B0604020202020204" pitchFamily="34" charset="0"/>
              <a:buChar char="•"/>
            </a:pPr>
            <a:r>
              <a:rPr lang="en-US" dirty="0"/>
              <a:t>Central data maintenance</a:t>
            </a:r>
          </a:p>
          <a:p>
            <a:pPr marL="285607" indent="-285607">
              <a:buFont typeface="Arial" panose="020B0604020202020204" pitchFamily="34" charset="0"/>
              <a:buChar char="•"/>
            </a:pPr>
            <a:r>
              <a:rPr lang="en-US" dirty="0"/>
              <a:t>Distribution of tested configuration to Main, Backup and Development</a:t>
            </a:r>
          </a:p>
          <a:p>
            <a:pPr marL="285607" indent="-285607">
              <a:buFont typeface="Arial" panose="020B0604020202020204" pitchFamily="34" charset="0"/>
              <a:buChar char="•"/>
            </a:pPr>
            <a:r>
              <a:rPr lang="en-US" dirty="0"/>
              <a:t>Support for different architecture at each site (redundant / non-redundant, flexible archive size)</a:t>
            </a:r>
          </a:p>
        </p:txBody>
      </p:sp>
      <p:sp>
        <p:nvSpPr>
          <p:cNvPr id="4" name="Rectangle 2">
            <a:extLst>
              <a:ext uri="{FF2B5EF4-FFF2-40B4-BE49-F238E27FC236}">
                <a16:creationId xmlns:a16="http://schemas.microsoft.com/office/drawing/2014/main" id="{AEF7CC91-0B99-4F0C-B40D-93DBC1DBA55B}"/>
              </a:ext>
            </a:extLst>
          </p:cNvPr>
          <p:cNvSpPr>
            <a:spLocks noChangeArrowheads="1"/>
          </p:cNvSpPr>
          <p:nvPr/>
        </p:nvSpPr>
        <p:spPr bwMode="auto">
          <a:xfrm>
            <a:off x="2003201" y="1180196"/>
            <a:ext cx="16223110" cy="369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anchor="ctr" anchorCtr="0" compatLnSpc="1">
            <a:prstTxWarp prst="textNoShape">
              <a:avLst/>
            </a:prstTxWarp>
            <a:spAutoFit/>
          </a:bodyPr>
          <a:lstStyle/>
          <a:p>
            <a:endParaRPr lang="en-US" sz="1799"/>
          </a:p>
        </p:txBody>
      </p:sp>
      <p:graphicFrame>
        <p:nvGraphicFramePr>
          <p:cNvPr id="5" name="Objekt 4">
            <a:extLst>
              <a:ext uri="{FF2B5EF4-FFF2-40B4-BE49-F238E27FC236}">
                <a16:creationId xmlns:a16="http://schemas.microsoft.com/office/drawing/2014/main" id="{D4DF45E7-6DE0-4474-BD94-46D5987C150F}"/>
              </a:ext>
            </a:extLst>
          </p:cNvPr>
          <p:cNvGraphicFramePr>
            <a:graphicFrameLocks noChangeAspect="1"/>
          </p:cNvGraphicFramePr>
          <p:nvPr/>
        </p:nvGraphicFramePr>
        <p:xfrm>
          <a:off x="3350543" y="1341856"/>
          <a:ext cx="8132668" cy="4953073"/>
        </p:xfrm>
        <a:graphic>
          <a:graphicData uri="http://schemas.openxmlformats.org/presentationml/2006/ole">
            <mc:AlternateContent xmlns:mc="http://schemas.openxmlformats.org/markup-compatibility/2006">
              <mc:Choice xmlns:v="urn:schemas-microsoft-com:vml" Requires="v">
                <p:oleObj name="Visio" r:id="rId2" imgW="9160480" imgH="5570970" progId="Visio.Drawing.11">
                  <p:embed/>
                </p:oleObj>
              </mc:Choice>
              <mc:Fallback>
                <p:oleObj name="Visio" r:id="rId2" imgW="9160480" imgH="5570970" progId="Visio.Drawing.11">
                  <p:embed/>
                  <p:pic>
                    <p:nvPicPr>
                      <p:cNvPr id="5" name="Objekt 4">
                        <a:extLst>
                          <a:ext uri="{FF2B5EF4-FFF2-40B4-BE49-F238E27FC236}">
                            <a16:creationId xmlns:a16="http://schemas.microsoft.com/office/drawing/2014/main" id="{D4DF45E7-6DE0-4474-BD94-46D5987C150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0543" y="1341856"/>
                        <a:ext cx="8132668" cy="4953073"/>
                      </a:xfrm>
                      <a:prstGeom prst="rect">
                        <a:avLst/>
                      </a:prstGeom>
                      <a:noFill/>
                    </p:spPr>
                  </p:pic>
                </p:oleObj>
              </mc:Fallback>
            </mc:AlternateContent>
          </a:graphicData>
        </a:graphic>
      </p:graphicFrame>
      <p:sp>
        <p:nvSpPr>
          <p:cNvPr id="7" name="Rechteck 6">
            <a:extLst>
              <a:ext uri="{FF2B5EF4-FFF2-40B4-BE49-F238E27FC236}">
                <a16:creationId xmlns:a16="http://schemas.microsoft.com/office/drawing/2014/main" id="{EC84C5BD-3FBA-4294-9098-F30B958EECEB}"/>
              </a:ext>
            </a:extLst>
          </p:cNvPr>
          <p:cNvSpPr/>
          <p:nvPr/>
        </p:nvSpPr>
        <p:spPr bwMode="auto">
          <a:xfrm>
            <a:off x="5376295" y="1340651"/>
            <a:ext cx="1234157" cy="1115419"/>
          </a:xfrm>
          <a:prstGeom prst="rect">
            <a:avLst/>
          </a:prstGeom>
          <a:noFill/>
          <a:ln w="57150">
            <a:solidFill>
              <a:srgbClr val="FFB900"/>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8" name="Rechteck 7">
            <a:extLst>
              <a:ext uri="{FF2B5EF4-FFF2-40B4-BE49-F238E27FC236}">
                <a16:creationId xmlns:a16="http://schemas.microsoft.com/office/drawing/2014/main" id="{794CB6F4-D9B2-4629-946E-0E31802726A4}"/>
              </a:ext>
            </a:extLst>
          </p:cNvPr>
          <p:cNvSpPr/>
          <p:nvPr/>
        </p:nvSpPr>
        <p:spPr bwMode="auto">
          <a:xfrm>
            <a:off x="7235115" y="1339475"/>
            <a:ext cx="1219765" cy="1108223"/>
          </a:xfrm>
          <a:prstGeom prst="rect">
            <a:avLst/>
          </a:prstGeom>
          <a:noFill/>
          <a:ln w="57150">
            <a:solidFill>
              <a:srgbClr val="92D050"/>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9" name="Rechteck 8">
            <a:extLst>
              <a:ext uri="{FF2B5EF4-FFF2-40B4-BE49-F238E27FC236}">
                <a16:creationId xmlns:a16="http://schemas.microsoft.com/office/drawing/2014/main" id="{D5B4BC74-1ED2-4EF7-8F24-B254518F8D1C}"/>
              </a:ext>
            </a:extLst>
          </p:cNvPr>
          <p:cNvSpPr/>
          <p:nvPr/>
        </p:nvSpPr>
        <p:spPr bwMode="auto">
          <a:xfrm>
            <a:off x="9154460" y="1339475"/>
            <a:ext cx="1219765" cy="1108223"/>
          </a:xfrm>
          <a:prstGeom prst="rect">
            <a:avLst/>
          </a:prstGeom>
          <a:noFill/>
          <a:ln w="57150">
            <a:solidFill>
              <a:srgbClr val="92D050"/>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0" name="Rechteck 9">
            <a:extLst>
              <a:ext uri="{FF2B5EF4-FFF2-40B4-BE49-F238E27FC236}">
                <a16:creationId xmlns:a16="http://schemas.microsoft.com/office/drawing/2014/main" id="{DED1AE7D-8F7A-442E-9F47-C8E5D771C6AF}"/>
              </a:ext>
            </a:extLst>
          </p:cNvPr>
          <p:cNvSpPr/>
          <p:nvPr/>
        </p:nvSpPr>
        <p:spPr bwMode="auto">
          <a:xfrm>
            <a:off x="3466780" y="1339954"/>
            <a:ext cx="1410465" cy="1216167"/>
          </a:xfrm>
          <a:prstGeom prst="rect">
            <a:avLst/>
          </a:prstGeom>
          <a:noFill/>
          <a:ln w="57150">
            <a:solidFill>
              <a:srgbClr val="92D050"/>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1" name="Rechteck 10">
            <a:extLst>
              <a:ext uri="{FF2B5EF4-FFF2-40B4-BE49-F238E27FC236}">
                <a16:creationId xmlns:a16="http://schemas.microsoft.com/office/drawing/2014/main" id="{54DF7E12-D524-4F80-A230-B4ED7E099B05}"/>
              </a:ext>
            </a:extLst>
          </p:cNvPr>
          <p:cNvSpPr/>
          <p:nvPr/>
        </p:nvSpPr>
        <p:spPr bwMode="auto">
          <a:xfrm>
            <a:off x="3217180" y="2637325"/>
            <a:ext cx="8266032" cy="3666989"/>
          </a:xfrm>
          <a:prstGeom prst="rect">
            <a:avLst/>
          </a:prstGeom>
          <a:gradFill flip="none" rotWithShape="1">
            <a:gsLst>
              <a:gs pos="0">
                <a:schemeClr val="bg1">
                  <a:alpha val="0"/>
                </a:schemeClr>
              </a:gs>
              <a:gs pos="49000">
                <a:schemeClr val="bg1">
                  <a:lumMod val="85000"/>
                  <a:alpha val="78000"/>
                </a:schemeClr>
              </a:gs>
              <a:gs pos="76000">
                <a:schemeClr val="bg1">
                  <a:lumMod val="85000"/>
                  <a:alpha val="90000"/>
                </a:schemeClr>
              </a:gs>
              <a:gs pos="100000">
                <a:schemeClr val="bg1">
                  <a:lumMod val="70000"/>
                </a:schemeClr>
              </a:gs>
            </a:gsLst>
            <a:lin ang="5400000" scaled="1"/>
            <a:tileRect/>
          </a:gra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6" name="Fußzeilenplatzhalter 5">
            <a:extLst>
              <a:ext uri="{FF2B5EF4-FFF2-40B4-BE49-F238E27FC236}">
                <a16:creationId xmlns:a16="http://schemas.microsoft.com/office/drawing/2014/main" id="{DF9AE37F-8FD8-44FB-ADEB-36324BDF1377}"/>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12" name="Foliennummernplatzhalter 11">
            <a:extLst>
              <a:ext uri="{FF2B5EF4-FFF2-40B4-BE49-F238E27FC236}">
                <a16:creationId xmlns:a16="http://schemas.microsoft.com/office/drawing/2014/main" id="{B4FB6CCB-1F70-448B-BC73-2CFAC74C0B66}"/>
              </a:ext>
            </a:extLst>
          </p:cNvPr>
          <p:cNvSpPr>
            <a:spLocks noGrp="1"/>
          </p:cNvSpPr>
          <p:nvPr>
            <p:ph type="sldNum" sz="quarter" idx="11"/>
          </p:nvPr>
        </p:nvSpPr>
        <p:spPr/>
        <p:txBody>
          <a:bodyPr/>
          <a:lstStyle/>
          <a:p>
            <a:r>
              <a:rPr lang="en-US"/>
              <a:t>Page </a:t>
            </a:r>
            <a:fld id="{15EBE321-CBB1-4E91-BD14-37C8D44326FB}" type="slidenum">
              <a:rPr lang="en-US" smtClean="0"/>
              <a:pPr/>
              <a:t>14</a:t>
            </a:fld>
            <a:endParaRPr lang="en-US" dirty="0"/>
          </a:p>
        </p:txBody>
      </p:sp>
    </p:spTree>
    <p:extLst>
      <p:ext uri="{BB962C8B-B14F-4D97-AF65-F5344CB8AC3E}">
        <p14:creationId xmlns:p14="http://schemas.microsoft.com/office/powerpoint/2010/main" val="12409808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500" fill="hold"/>
                                        <p:tgtEl>
                                          <p:spTgt spid="5"/>
                                        </p:tgtEl>
                                        <p:attrNameLst>
                                          <p:attrName>ppt_w</p:attrName>
                                        </p:attrNameLst>
                                      </p:cBhvr>
                                      <p:tavLst>
                                        <p:tav tm="0">
                                          <p:val>
                                            <p:fltVal val="0"/>
                                          </p:val>
                                        </p:tav>
                                        <p:tav tm="100000">
                                          <p:val>
                                            <p:strVal val="#ppt_w"/>
                                          </p:val>
                                        </p:tav>
                                      </p:tavLst>
                                    </p:anim>
                                    <p:anim calcmode="lin" valueType="num">
                                      <p:cBhvr>
                                        <p:cTn id="8" dur="500" fill="hold"/>
                                        <p:tgtEl>
                                          <p:spTgt spid="5"/>
                                        </p:tgtEl>
                                        <p:attrNameLst>
                                          <p:attrName>ppt_h</p:attrName>
                                        </p:attrNameLst>
                                      </p:cBhvr>
                                      <p:tavLst>
                                        <p:tav tm="0">
                                          <p:val>
                                            <p:fltVal val="0"/>
                                          </p:val>
                                        </p:tav>
                                        <p:tav tm="100000">
                                          <p:val>
                                            <p:strVal val="#ppt_h"/>
                                          </p:val>
                                        </p:tav>
                                      </p:tavLst>
                                    </p:anim>
                                    <p:animEffect transition="in" filter="fade">
                                      <p:cBhvr>
                                        <p:cTn id="9" dur="500"/>
                                        <p:tgtEl>
                                          <p:spTgt spid="5"/>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11"/>
                                        </p:tgtEl>
                                        <p:attrNameLst>
                                          <p:attrName>style.visibility</p:attrName>
                                        </p:attrNameLst>
                                      </p:cBhvr>
                                      <p:to>
                                        <p:strVal val="visible"/>
                                      </p:to>
                                    </p:set>
                                    <p:anim calcmode="lin" valueType="num">
                                      <p:cBhvr>
                                        <p:cTn id="14" dur="500" fill="hold"/>
                                        <p:tgtEl>
                                          <p:spTgt spid="11"/>
                                        </p:tgtEl>
                                        <p:attrNameLst>
                                          <p:attrName>ppt_w</p:attrName>
                                        </p:attrNameLst>
                                      </p:cBhvr>
                                      <p:tavLst>
                                        <p:tav tm="0">
                                          <p:val>
                                            <p:fltVal val="0"/>
                                          </p:val>
                                        </p:tav>
                                        <p:tav tm="100000">
                                          <p:val>
                                            <p:strVal val="#ppt_w"/>
                                          </p:val>
                                        </p:tav>
                                      </p:tavLst>
                                    </p:anim>
                                    <p:anim calcmode="lin" valueType="num">
                                      <p:cBhvr>
                                        <p:cTn id="15" dur="500" fill="hold"/>
                                        <p:tgtEl>
                                          <p:spTgt spid="11"/>
                                        </p:tgtEl>
                                        <p:attrNameLst>
                                          <p:attrName>ppt_h</p:attrName>
                                        </p:attrNameLst>
                                      </p:cBhvr>
                                      <p:tavLst>
                                        <p:tav tm="0">
                                          <p:val>
                                            <p:fltVal val="0"/>
                                          </p:val>
                                        </p:tav>
                                        <p:tav tm="100000">
                                          <p:val>
                                            <p:strVal val="#ppt_h"/>
                                          </p:val>
                                        </p:tav>
                                      </p:tavLst>
                                    </p:anim>
                                    <p:animEffect transition="in" filter="fade">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 calcmode="lin" valueType="num">
                                      <p:cBhvr additive="base">
                                        <p:cTn id="21"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2" dur="500" fill="hold"/>
                                        <p:tgtEl>
                                          <p:spTgt spid="3">
                                            <p:txEl>
                                              <p:pRg st="2" end="2"/>
                                            </p:txEl>
                                          </p:spTgt>
                                        </p:tgtEl>
                                        <p:attrNameLst>
                                          <p:attrName>ppt_y</p:attrName>
                                        </p:attrNameLst>
                                      </p:cBhvr>
                                      <p:tavLst>
                                        <p:tav tm="0">
                                          <p:val>
                                            <p:strVal val="1+#ppt_h/2"/>
                                          </p:val>
                                        </p:tav>
                                        <p:tav tm="100000">
                                          <p:val>
                                            <p:strVal val="#ppt_y"/>
                                          </p:val>
                                        </p:tav>
                                      </p:tavLst>
                                    </p:anim>
                                  </p:childTnLst>
                                </p:cTn>
                              </p:par>
                            </p:childTnLst>
                          </p:cTn>
                        </p:par>
                        <p:par>
                          <p:cTn id="23" fill="hold">
                            <p:stCondLst>
                              <p:cond delay="500"/>
                            </p:stCondLst>
                            <p:childTnLst>
                              <p:par>
                                <p:cTn id="24" presetID="2" presetClass="entr" presetSubtype="4"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 calcmode="lin" valueType="num">
                                      <p:cBhvr additive="base">
                                        <p:cTn id="26" dur="500" fill="hold"/>
                                        <p:tgtEl>
                                          <p:spTgt spid="7"/>
                                        </p:tgtEl>
                                        <p:attrNameLst>
                                          <p:attrName>ppt_x</p:attrName>
                                        </p:attrNameLst>
                                      </p:cBhvr>
                                      <p:tavLst>
                                        <p:tav tm="0">
                                          <p:val>
                                            <p:strVal val="#ppt_x"/>
                                          </p:val>
                                        </p:tav>
                                        <p:tav tm="100000">
                                          <p:val>
                                            <p:strVal val="#ppt_x"/>
                                          </p:val>
                                        </p:tav>
                                      </p:tavLst>
                                    </p:anim>
                                    <p:anim calcmode="lin" valueType="num">
                                      <p:cBhvr additive="base">
                                        <p:cTn id="27" dur="500" fill="hold"/>
                                        <p:tgtEl>
                                          <p:spTgt spid="7"/>
                                        </p:tgtEl>
                                        <p:attrNameLst>
                                          <p:attrName>ppt_y</p:attrName>
                                        </p:attrNameLst>
                                      </p:cBhvr>
                                      <p:tavLst>
                                        <p:tav tm="0">
                                          <p:val>
                                            <p:strVal val="1+#ppt_h/2"/>
                                          </p:val>
                                        </p:tav>
                                        <p:tav tm="100000">
                                          <p:val>
                                            <p:strVal val="#ppt_y"/>
                                          </p:val>
                                        </p:tav>
                                      </p:tavLst>
                                    </p:anim>
                                  </p:childTnLst>
                                </p:cTn>
                              </p:par>
                            </p:childTnLst>
                          </p:cTn>
                        </p:par>
                        <p:par>
                          <p:cTn id="28" fill="hold">
                            <p:stCondLst>
                              <p:cond delay="1000"/>
                            </p:stCondLst>
                            <p:childTnLst>
                              <p:par>
                                <p:cTn id="29" presetID="26" presetClass="emph" presetSubtype="0" repeatCount="2000" fill="hold" grpId="1" nodeType="afterEffect">
                                  <p:stCondLst>
                                    <p:cond delay="0"/>
                                  </p:stCondLst>
                                  <p:childTnLst>
                                    <p:animEffect transition="out" filter="fade">
                                      <p:cBhvr>
                                        <p:cTn id="30" dur="500" tmFilter="0, 0; .2, .5; .8, .5; 1, 0"/>
                                        <p:tgtEl>
                                          <p:spTgt spid="7"/>
                                        </p:tgtEl>
                                      </p:cBhvr>
                                    </p:animEffect>
                                    <p:animScale>
                                      <p:cBhvr>
                                        <p:cTn id="31" dur="250" autoRev="1" fill="hold"/>
                                        <p:tgtEl>
                                          <p:spTgt spid="7"/>
                                        </p:tgtEl>
                                      </p:cBhvr>
                                      <p:by x="105000" y="105000"/>
                                    </p:animScale>
                                  </p:childTnLst>
                                </p:cTn>
                              </p:par>
                            </p:childTnLst>
                          </p:cTn>
                        </p:par>
                      </p:childTnLst>
                    </p:cTn>
                  </p:par>
                  <p:par>
                    <p:cTn id="32" fill="hold">
                      <p:stCondLst>
                        <p:cond delay="indefinite"/>
                      </p:stCondLst>
                      <p:childTnLst>
                        <p:par>
                          <p:cTn id="33" fill="hold">
                            <p:stCondLst>
                              <p:cond delay="0"/>
                            </p:stCondLst>
                            <p:childTnLst>
                              <p:par>
                                <p:cTn id="34" presetID="2" presetClass="entr" presetSubtype="4" fill="hold" nodeType="clickEffect">
                                  <p:stCondLst>
                                    <p:cond delay="0"/>
                                  </p:stCondLst>
                                  <p:childTnLst>
                                    <p:set>
                                      <p:cBhvr>
                                        <p:cTn id="35" dur="1" fill="hold">
                                          <p:stCondLst>
                                            <p:cond delay="0"/>
                                          </p:stCondLst>
                                        </p:cTn>
                                        <p:tgtEl>
                                          <p:spTgt spid="3">
                                            <p:txEl>
                                              <p:pRg st="3" end="3"/>
                                            </p:txEl>
                                          </p:spTgt>
                                        </p:tgtEl>
                                        <p:attrNameLst>
                                          <p:attrName>style.visibility</p:attrName>
                                        </p:attrNameLst>
                                      </p:cBhvr>
                                      <p:to>
                                        <p:strVal val="visible"/>
                                      </p:to>
                                    </p:set>
                                    <p:anim calcmode="lin" valueType="num">
                                      <p:cBhvr additive="base">
                                        <p:cTn id="36"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37" dur="500" fill="hold"/>
                                        <p:tgtEl>
                                          <p:spTgt spid="3">
                                            <p:txEl>
                                              <p:pRg st="3" end="3"/>
                                            </p:txEl>
                                          </p:spTgt>
                                        </p:tgtEl>
                                        <p:attrNameLst>
                                          <p:attrName>ppt_y</p:attrName>
                                        </p:attrNameLst>
                                      </p:cBhvr>
                                      <p:tavLst>
                                        <p:tav tm="0">
                                          <p:val>
                                            <p:strVal val="1+#ppt_h/2"/>
                                          </p:val>
                                        </p:tav>
                                        <p:tav tm="100000">
                                          <p:val>
                                            <p:strVal val="#ppt_y"/>
                                          </p:val>
                                        </p:tav>
                                      </p:tavLst>
                                    </p:anim>
                                  </p:childTnLst>
                                </p:cTn>
                              </p:par>
                            </p:childTnLst>
                          </p:cTn>
                        </p:par>
                        <p:par>
                          <p:cTn id="38" fill="hold">
                            <p:stCondLst>
                              <p:cond delay="500"/>
                            </p:stCondLst>
                            <p:childTnLst>
                              <p:par>
                                <p:cTn id="39" presetID="2" presetClass="entr" presetSubtype="4" fill="hold" grpId="0" nodeType="afterEffect">
                                  <p:stCondLst>
                                    <p:cond delay="0"/>
                                  </p:stCondLst>
                                  <p:childTnLst>
                                    <p:set>
                                      <p:cBhvr>
                                        <p:cTn id="40" dur="1" fill="hold">
                                          <p:stCondLst>
                                            <p:cond delay="0"/>
                                          </p:stCondLst>
                                        </p:cTn>
                                        <p:tgtEl>
                                          <p:spTgt spid="8"/>
                                        </p:tgtEl>
                                        <p:attrNameLst>
                                          <p:attrName>style.visibility</p:attrName>
                                        </p:attrNameLst>
                                      </p:cBhvr>
                                      <p:to>
                                        <p:strVal val="visible"/>
                                      </p:to>
                                    </p:set>
                                    <p:anim calcmode="lin" valueType="num">
                                      <p:cBhvr additive="base">
                                        <p:cTn id="41" dur="500" fill="hold"/>
                                        <p:tgtEl>
                                          <p:spTgt spid="8"/>
                                        </p:tgtEl>
                                        <p:attrNameLst>
                                          <p:attrName>ppt_x</p:attrName>
                                        </p:attrNameLst>
                                      </p:cBhvr>
                                      <p:tavLst>
                                        <p:tav tm="0">
                                          <p:val>
                                            <p:strVal val="#ppt_x"/>
                                          </p:val>
                                        </p:tav>
                                        <p:tav tm="100000">
                                          <p:val>
                                            <p:strVal val="#ppt_x"/>
                                          </p:val>
                                        </p:tav>
                                      </p:tavLst>
                                    </p:anim>
                                    <p:anim calcmode="lin" valueType="num">
                                      <p:cBhvr additive="base">
                                        <p:cTn id="42" dur="500" fill="hold"/>
                                        <p:tgtEl>
                                          <p:spTgt spid="8"/>
                                        </p:tgtEl>
                                        <p:attrNameLst>
                                          <p:attrName>ppt_y</p:attrName>
                                        </p:attrNameLst>
                                      </p:cBhvr>
                                      <p:tavLst>
                                        <p:tav tm="0">
                                          <p:val>
                                            <p:strVal val="1+#ppt_h/2"/>
                                          </p:val>
                                        </p:tav>
                                        <p:tav tm="100000">
                                          <p:val>
                                            <p:strVal val="#ppt_y"/>
                                          </p:val>
                                        </p:tav>
                                      </p:tavLst>
                                    </p:anim>
                                  </p:childTnLst>
                                </p:cTn>
                              </p:par>
                            </p:childTnLst>
                          </p:cTn>
                        </p:par>
                        <p:par>
                          <p:cTn id="43" fill="hold">
                            <p:stCondLst>
                              <p:cond delay="1000"/>
                            </p:stCondLst>
                            <p:childTnLst>
                              <p:par>
                                <p:cTn id="44" presetID="26" presetClass="emph" presetSubtype="0" repeatCount="2000" fill="hold" grpId="1" nodeType="afterEffect">
                                  <p:stCondLst>
                                    <p:cond delay="0"/>
                                  </p:stCondLst>
                                  <p:childTnLst>
                                    <p:animEffect transition="out" filter="fade">
                                      <p:cBhvr>
                                        <p:cTn id="45" dur="500" tmFilter="0, 0; .2, .5; .8, .5; 1, 0"/>
                                        <p:tgtEl>
                                          <p:spTgt spid="8"/>
                                        </p:tgtEl>
                                      </p:cBhvr>
                                    </p:animEffect>
                                    <p:animScale>
                                      <p:cBhvr>
                                        <p:cTn id="46" dur="250" autoRev="1" fill="hold"/>
                                        <p:tgtEl>
                                          <p:spTgt spid="8"/>
                                        </p:tgtEl>
                                      </p:cBhvr>
                                      <p:by x="105000" y="105000"/>
                                    </p:animScale>
                                  </p:childTnLst>
                                </p:cTn>
                              </p:par>
                            </p:childTnLst>
                          </p:cTn>
                        </p:par>
                        <p:par>
                          <p:cTn id="47" fill="hold">
                            <p:stCondLst>
                              <p:cond delay="2000"/>
                            </p:stCondLst>
                            <p:childTnLst>
                              <p:par>
                                <p:cTn id="48" presetID="2" presetClass="entr" presetSubtype="4" fill="hold" grpId="0" nodeType="afterEffect">
                                  <p:stCondLst>
                                    <p:cond delay="0"/>
                                  </p:stCondLst>
                                  <p:childTnLst>
                                    <p:set>
                                      <p:cBhvr>
                                        <p:cTn id="49" dur="1" fill="hold">
                                          <p:stCondLst>
                                            <p:cond delay="0"/>
                                          </p:stCondLst>
                                        </p:cTn>
                                        <p:tgtEl>
                                          <p:spTgt spid="9"/>
                                        </p:tgtEl>
                                        <p:attrNameLst>
                                          <p:attrName>style.visibility</p:attrName>
                                        </p:attrNameLst>
                                      </p:cBhvr>
                                      <p:to>
                                        <p:strVal val="visible"/>
                                      </p:to>
                                    </p:set>
                                    <p:anim calcmode="lin" valueType="num">
                                      <p:cBhvr additive="base">
                                        <p:cTn id="50" dur="500" fill="hold"/>
                                        <p:tgtEl>
                                          <p:spTgt spid="9"/>
                                        </p:tgtEl>
                                        <p:attrNameLst>
                                          <p:attrName>ppt_x</p:attrName>
                                        </p:attrNameLst>
                                      </p:cBhvr>
                                      <p:tavLst>
                                        <p:tav tm="0">
                                          <p:val>
                                            <p:strVal val="#ppt_x"/>
                                          </p:val>
                                        </p:tav>
                                        <p:tav tm="100000">
                                          <p:val>
                                            <p:strVal val="#ppt_x"/>
                                          </p:val>
                                        </p:tav>
                                      </p:tavLst>
                                    </p:anim>
                                    <p:anim calcmode="lin" valueType="num">
                                      <p:cBhvr additive="base">
                                        <p:cTn id="51" dur="500" fill="hold"/>
                                        <p:tgtEl>
                                          <p:spTgt spid="9"/>
                                        </p:tgtEl>
                                        <p:attrNameLst>
                                          <p:attrName>ppt_y</p:attrName>
                                        </p:attrNameLst>
                                      </p:cBhvr>
                                      <p:tavLst>
                                        <p:tav tm="0">
                                          <p:val>
                                            <p:strVal val="1+#ppt_h/2"/>
                                          </p:val>
                                        </p:tav>
                                        <p:tav tm="100000">
                                          <p:val>
                                            <p:strVal val="#ppt_y"/>
                                          </p:val>
                                        </p:tav>
                                      </p:tavLst>
                                    </p:anim>
                                  </p:childTnLst>
                                </p:cTn>
                              </p:par>
                            </p:childTnLst>
                          </p:cTn>
                        </p:par>
                        <p:par>
                          <p:cTn id="52" fill="hold">
                            <p:stCondLst>
                              <p:cond delay="2500"/>
                            </p:stCondLst>
                            <p:childTnLst>
                              <p:par>
                                <p:cTn id="53" presetID="26" presetClass="emph" presetSubtype="0" repeatCount="2000" fill="hold" grpId="1" nodeType="afterEffect">
                                  <p:stCondLst>
                                    <p:cond delay="0"/>
                                  </p:stCondLst>
                                  <p:childTnLst>
                                    <p:animEffect transition="out" filter="fade">
                                      <p:cBhvr>
                                        <p:cTn id="54" dur="500" tmFilter="0, 0; .2, .5; .8, .5; 1, 0"/>
                                        <p:tgtEl>
                                          <p:spTgt spid="9"/>
                                        </p:tgtEl>
                                      </p:cBhvr>
                                    </p:animEffect>
                                    <p:animScale>
                                      <p:cBhvr>
                                        <p:cTn id="55" dur="250" autoRev="1" fill="hold"/>
                                        <p:tgtEl>
                                          <p:spTgt spid="9"/>
                                        </p:tgtEl>
                                      </p:cBhvr>
                                      <p:by x="105000" y="105000"/>
                                    </p:animScale>
                                  </p:childTnLst>
                                </p:cTn>
                              </p:par>
                            </p:childTnLst>
                          </p:cTn>
                        </p:par>
                        <p:par>
                          <p:cTn id="56" fill="hold">
                            <p:stCondLst>
                              <p:cond delay="3500"/>
                            </p:stCondLst>
                            <p:childTnLst>
                              <p:par>
                                <p:cTn id="57" presetID="2" presetClass="entr" presetSubtype="4" fill="hold" grpId="0" nodeType="afterEffect">
                                  <p:stCondLst>
                                    <p:cond delay="0"/>
                                  </p:stCondLst>
                                  <p:childTnLst>
                                    <p:set>
                                      <p:cBhvr>
                                        <p:cTn id="58" dur="1" fill="hold">
                                          <p:stCondLst>
                                            <p:cond delay="0"/>
                                          </p:stCondLst>
                                        </p:cTn>
                                        <p:tgtEl>
                                          <p:spTgt spid="10"/>
                                        </p:tgtEl>
                                        <p:attrNameLst>
                                          <p:attrName>style.visibility</p:attrName>
                                        </p:attrNameLst>
                                      </p:cBhvr>
                                      <p:to>
                                        <p:strVal val="visible"/>
                                      </p:to>
                                    </p:set>
                                    <p:anim calcmode="lin" valueType="num">
                                      <p:cBhvr additive="base">
                                        <p:cTn id="59" dur="500" fill="hold"/>
                                        <p:tgtEl>
                                          <p:spTgt spid="10"/>
                                        </p:tgtEl>
                                        <p:attrNameLst>
                                          <p:attrName>ppt_x</p:attrName>
                                        </p:attrNameLst>
                                      </p:cBhvr>
                                      <p:tavLst>
                                        <p:tav tm="0">
                                          <p:val>
                                            <p:strVal val="#ppt_x"/>
                                          </p:val>
                                        </p:tav>
                                        <p:tav tm="100000">
                                          <p:val>
                                            <p:strVal val="#ppt_x"/>
                                          </p:val>
                                        </p:tav>
                                      </p:tavLst>
                                    </p:anim>
                                    <p:anim calcmode="lin" valueType="num">
                                      <p:cBhvr additive="base">
                                        <p:cTn id="60" dur="500" fill="hold"/>
                                        <p:tgtEl>
                                          <p:spTgt spid="10"/>
                                        </p:tgtEl>
                                        <p:attrNameLst>
                                          <p:attrName>ppt_y</p:attrName>
                                        </p:attrNameLst>
                                      </p:cBhvr>
                                      <p:tavLst>
                                        <p:tav tm="0">
                                          <p:val>
                                            <p:strVal val="1+#ppt_h/2"/>
                                          </p:val>
                                        </p:tav>
                                        <p:tav tm="100000">
                                          <p:val>
                                            <p:strVal val="#ppt_y"/>
                                          </p:val>
                                        </p:tav>
                                      </p:tavLst>
                                    </p:anim>
                                  </p:childTnLst>
                                </p:cTn>
                              </p:par>
                            </p:childTnLst>
                          </p:cTn>
                        </p:par>
                        <p:par>
                          <p:cTn id="61" fill="hold">
                            <p:stCondLst>
                              <p:cond delay="4000"/>
                            </p:stCondLst>
                            <p:childTnLst>
                              <p:par>
                                <p:cTn id="62" presetID="26" presetClass="emph" presetSubtype="0" repeatCount="2000" fill="hold" grpId="1" nodeType="afterEffect">
                                  <p:stCondLst>
                                    <p:cond delay="0"/>
                                  </p:stCondLst>
                                  <p:childTnLst>
                                    <p:animEffect transition="out" filter="fade">
                                      <p:cBhvr>
                                        <p:cTn id="63" dur="500" tmFilter="0, 0; .2, .5; .8, .5; 1, 0"/>
                                        <p:tgtEl>
                                          <p:spTgt spid="10"/>
                                        </p:tgtEl>
                                      </p:cBhvr>
                                    </p:animEffect>
                                    <p:animScale>
                                      <p:cBhvr>
                                        <p:cTn id="64" dur="250" autoRev="1" fill="hold"/>
                                        <p:tgtEl>
                                          <p:spTgt spid="10"/>
                                        </p:tgtEl>
                                      </p:cBhvr>
                                      <p:by x="105000" y="105000"/>
                                    </p:animScale>
                                  </p:childTnLst>
                                </p:cTn>
                              </p:par>
                            </p:childTnLst>
                          </p:cTn>
                        </p:par>
                      </p:childTnLst>
                    </p:cTn>
                  </p:par>
                  <p:par>
                    <p:cTn id="65" fill="hold">
                      <p:stCondLst>
                        <p:cond delay="indefinite"/>
                      </p:stCondLst>
                      <p:childTnLst>
                        <p:par>
                          <p:cTn id="66" fill="hold">
                            <p:stCondLst>
                              <p:cond delay="0"/>
                            </p:stCondLst>
                            <p:childTnLst>
                              <p:par>
                                <p:cTn id="67" presetID="2" presetClass="entr" presetSubtype="4" fill="hold" nodeType="clickEffect">
                                  <p:stCondLst>
                                    <p:cond delay="0"/>
                                  </p:stCondLst>
                                  <p:childTnLst>
                                    <p:set>
                                      <p:cBhvr>
                                        <p:cTn id="68" dur="1" fill="hold">
                                          <p:stCondLst>
                                            <p:cond delay="0"/>
                                          </p:stCondLst>
                                        </p:cTn>
                                        <p:tgtEl>
                                          <p:spTgt spid="3">
                                            <p:txEl>
                                              <p:pRg st="4" end="4"/>
                                            </p:txEl>
                                          </p:spTgt>
                                        </p:tgtEl>
                                        <p:attrNameLst>
                                          <p:attrName>style.visibility</p:attrName>
                                        </p:attrNameLst>
                                      </p:cBhvr>
                                      <p:to>
                                        <p:strVal val="visible"/>
                                      </p:to>
                                    </p:set>
                                    <p:anim calcmode="lin" valueType="num">
                                      <p:cBhvr additive="base">
                                        <p:cTn id="69"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70" dur="500" fill="hold"/>
                                        <p:tgtEl>
                                          <p:spTgt spid="3">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8" grpId="0" animBg="1"/>
      <p:bldP spid="8" grpId="1" animBg="1"/>
      <p:bldP spid="9" grpId="0" animBg="1"/>
      <p:bldP spid="9" grpId="1" animBg="1"/>
      <p:bldP spid="10" grpId="0" animBg="1"/>
      <p:bldP spid="10" grpId="1"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86944A14-F613-46CA-BBD9-C02856109181}"/>
              </a:ext>
            </a:extLst>
          </p:cNvPr>
          <p:cNvSpPr>
            <a:spLocks noGrp="1"/>
          </p:cNvSpPr>
          <p:nvPr>
            <p:ph type="title"/>
          </p:nvPr>
        </p:nvSpPr>
        <p:spPr>
          <a:xfrm>
            <a:off x="410399" y="1414463"/>
            <a:ext cx="11370437" cy="615553"/>
          </a:xfrm>
        </p:spPr>
        <p:txBody>
          <a:bodyPr/>
          <a:lstStyle/>
          <a:p>
            <a:r>
              <a:rPr lang="en-US" dirty="0"/>
              <a:t>System Stability Observation and Protection</a:t>
            </a:r>
            <a:endParaRPr lang="en-US" b="0" dirty="0"/>
          </a:p>
        </p:txBody>
      </p:sp>
      <p:sp>
        <p:nvSpPr>
          <p:cNvPr id="2" name="Subtitle">
            <a:extLst>
              <a:ext uri="{FF2B5EF4-FFF2-40B4-BE49-F238E27FC236}">
                <a16:creationId xmlns:a16="http://schemas.microsoft.com/office/drawing/2014/main" id="{27507DB2-A004-4C7F-BB03-CAB07E07A0D3}"/>
              </a:ext>
            </a:extLst>
          </p:cNvPr>
          <p:cNvSpPr>
            <a:spLocks noGrp="1"/>
          </p:cNvSpPr>
          <p:nvPr>
            <p:ph type="subTitle" idx="1"/>
          </p:nvPr>
        </p:nvSpPr>
        <p:spPr/>
        <p:txBody>
          <a:bodyPr/>
          <a:lstStyle/>
          <a:p>
            <a:pPr lvl="2"/>
            <a:r>
              <a:rPr lang="en-US" dirty="0"/>
              <a:t>Application of SIGUARD PDP with focus on system stability</a:t>
            </a:r>
          </a:p>
          <a:p>
            <a:pPr lvl="2"/>
            <a:r>
              <a:rPr lang="en-US" dirty="0"/>
              <a:t>José Malagon</a:t>
            </a:r>
          </a:p>
        </p:txBody>
      </p:sp>
      <p:sp>
        <p:nvSpPr>
          <p:cNvPr id="4" name="Footer Placeholder">
            <a:extLst>
              <a:ext uri="{FF2B5EF4-FFF2-40B4-BE49-F238E27FC236}">
                <a16:creationId xmlns:a16="http://schemas.microsoft.com/office/drawing/2014/main" id="{44BC0098-81DD-493C-B26A-7A784197B2FA}"/>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3" name="Foliennummernplatzhalter 2">
            <a:extLst>
              <a:ext uri="{FF2B5EF4-FFF2-40B4-BE49-F238E27FC236}">
                <a16:creationId xmlns:a16="http://schemas.microsoft.com/office/drawing/2014/main" id="{3677DD45-0074-4A07-9606-439AD5732DD5}"/>
              </a:ext>
            </a:extLst>
          </p:cNvPr>
          <p:cNvSpPr>
            <a:spLocks noGrp="1"/>
          </p:cNvSpPr>
          <p:nvPr>
            <p:ph type="sldNum" sz="quarter" idx="11"/>
          </p:nvPr>
        </p:nvSpPr>
        <p:spPr/>
        <p:txBody>
          <a:bodyPr/>
          <a:lstStyle/>
          <a:p>
            <a:r>
              <a:rPr lang="en-US"/>
              <a:t>Page </a:t>
            </a:r>
            <a:fld id="{15EBE321-CBB1-4E91-BD14-37C8D44326FB}" type="slidenum">
              <a:rPr lang="en-US" smtClean="0"/>
              <a:pPr/>
              <a:t>15</a:t>
            </a:fld>
            <a:endParaRPr lang="en-US" dirty="0"/>
          </a:p>
        </p:txBody>
      </p:sp>
    </p:spTree>
    <p:extLst>
      <p:ext uri="{BB962C8B-B14F-4D97-AF65-F5344CB8AC3E}">
        <p14:creationId xmlns:p14="http://schemas.microsoft.com/office/powerpoint/2010/main" val="17325368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br>
              <a:rPr lang="de-DE" dirty="0"/>
            </a:br>
            <a:endParaRPr lang="de-DE" dirty="0"/>
          </a:p>
        </p:txBody>
      </p:sp>
      <p:grpSp>
        <p:nvGrpSpPr>
          <p:cNvPr id="8" name="Group 7">
            <a:extLst>
              <a:ext uri="{FF2B5EF4-FFF2-40B4-BE49-F238E27FC236}">
                <a16:creationId xmlns:a16="http://schemas.microsoft.com/office/drawing/2014/main" id="{C1E8AF77-269A-45EA-85EA-E06788DAC2FA}"/>
              </a:ext>
            </a:extLst>
          </p:cNvPr>
          <p:cNvGrpSpPr/>
          <p:nvPr/>
        </p:nvGrpSpPr>
        <p:grpSpPr>
          <a:xfrm>
            <a:off x="254627" y="1573222"/>
            <a:ext cx="7180798" cy="4735844"/>
            <a:chOff x="197094" y="1666126"/>
            <a:chExt cx="7470804" cy="4691505"/>
          </a:xfrm>
        </p:grpSpPr>
        <p:grpSp>
          <p:nvGrpSpPr>
            <p:cNvPr id="7" name="Group 6">
              <a:extLst>
                <a:ext uri="{FF2B5EF4-FFF2-40B4-BE49-F238E27FC236}">
                  <a16:creationId xmlns:a16="http://schemas.microsoft.com/office/drawing/2014/main" id="{C976B045-4D49-4D35-A8BB-E9C995B68E8D}"/>
                </a:ext>
              </a:extLst>
            </p:cNvPr>
            <p:cNvGrpSpPr/>
            <p:nvPr/>
          </p:nvGrpSpPr>
          <p:grpSpPr>
            <a:xfrm>
              <a:off x="197094" y="1666126"/>
              <a:ext cx="7470804" cy="4691505"/>
              <a:chOff x="197094" y="1666126"/>
              <a:chExt cx="7470804" cy="4691505"/>
            </a:xfrm>
          </p:grpSpPr>
          <p:grpSp>
            <p:nvGrpSpPr>
              <p:cNvPr id="6" name="Group 5">
                <a:extLst>
                  <a:ext uri="{FF2B5EF4-FFF2-40B4-BE49-F238E27FC236}">
                    <a16:creationId xmlns:a16="http://schemas.microsoft.com/office/drawing/2014/main" id="{1AF2B91B-3D88-464C-BD63-773A1EA19FA3}"/>
                  </a:ext>
                </a:extLst>
              </p:cNvPr>
              <p:cNvGrpSpPr/>
              <p:nvPr/>
            </p:nvGrpSpPr>
            <p:grpSpPr>
              <a:xfrm>
                <a:off x="197094" y="1666126"/>
                <a:ext cx="7470804" cy="4691505"/>
                <a:chOff x="197094" y="1666126"/>
                <a:chExt cx="7470804" cy="4691505"/>
              </a:xfrm>
            </p:grpSpPr>
            <p:grpSp>
              <p:nvGrpSpPr>
                <p:cNvPr id="5" name="Group 4">
                  <a:extLst>
                    <a:ext uri="{FF2B5EF4-FFF2-40B4-BE49-F238E27FC236}">
                      <a16:creationId xmlns:a16="http://schemas.microsoft.com/office/drawing/2014/main" id="{B0023919-C1EA-4B0E-AE9D-F14B6467F8D7}"/>
                    </a:ext>
                  </a:extLst>
                </p:cNvPr>
                <p:cNvGrpSpPr/>
                <p:nvPr/>
              </p:nvGrpSpPr>
              <p:grpSpPr>
                <a:xfrm>
                  <a:off x="197094" y="1666126"/>
                  <a:ext cx="7470804" cy="4691505"/>
                  <a:chOff x="197094" y="1666126"/>
                  <a:chExt cx="7470804" cy="4691505"/>
                </a:xfrm>
              </p:grpSpPr>
              <p:sp>
                <p:nvSpPr>
                  <p:cNvPr id="24" name="Rectangle 4"/>
                  <p:cNvSpPr>
                    <a:spLocks noChangeArrowheads="1"/>
                  </p:cNvSpPr>
                  <p:nvPr/>
                </p:nvSpPr>
                <p:spPr bwMode="auto">
                  <a:xfrm>
                    <a:off x="197094" y="1666126"/>
                    <a:ext cx="7470804" cy="4691505"/>
                  </a:xfrm>
                  <a:prstGeom prst="rect">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wrap="none" anchor="ctr"/>
                  <a:lstStyle/>
                  <a:p>
                    <a:pPr defTabSz="913943">
                      <a:defRPr/>
                    </a:pPr>
                    <a:endParaRPr lang="de-DE" sz="1799" kern="0">
                      <a:solidFill>
                        <a:sysClr val="windowText" lastClr="000000"/>
                      </a:solidFill>
                    </a:endParaRPr>
                  </a:p>
                </p:txBody>
              </p:sp>
              <p:grpSp>
                <p:nvGrpSpPr>
                  <p:cNvPr id="3" name="Group 2">
                    <a:extLst>
                      <a:ext uri="{FF2B5EF4-FFF2-40B4-BE49-F238E27FC236}">
                        <a16:creationId xmlns:a16="http://schemas.microsoft.com/office/drawing/2014/main" id="{0D99F819-6394-4DCB-B632-894019B7FB9E}"/>
                      </a:ext>
                    </a:extLst>
                  </p:cNvPr>
                  <p:cNvGrpSpPr/>
                  <p:nvPr/>
                </p:nvGrpSpPr>
                <p:grpSpPr>
                  <a:xfrm>
                    <a:off x="1168399" y="1782763"/>
                    <a:ext cx="5776739" cy="3602037"/>
                    <a:chOff x="1168399" y="1782763"/>
                    <a:chExt cx="5776739" cy="3602037"/>
                  </a:xfrm>
                </p:grpSpPr>
                <p:sp>
                  <p:nvSpPr>
                    <p:cNvPr id="26" name="Freeform 6"/>
                    <p:cNvSpPr>
                      <a:spLocks/>
                    </p:cNvSpPr>
                    <p:nvPr/>
                  </p:nvSpPr>
                  <p:spPr bwMode="auto">
                    <a:xfrm>
                      <a:off x="1168399" y="1782763"/>
                      <a:ext cx="5672667" cy="1290637"/>
                    </a:xfrm>
                    <a:custGeom>
                      <a:avLst/>
                      <a:gdLst/>
                      <a:ahLst/>
                      <a:cxnLst>
                        <a:cxn ang="0">
                          <a:pos x="0" y="0"/>
                        </a:cxn>
                        <a:cxn ang="0">
                          <a:pos x="635" y="454"/>
                        </a:cxn>
                        <a:cxn ang="0">
                          <a:pos x="1633" y="499"/>
                        </a:cxn>
                        <a:cxn ang="0">
                          <a:pos x="1815" y="499"/>
                        </a:cxn>
                      </a:cxnLst>
                      <a:rect l="0" t="0" r="r" b="b"/>
                      <a:pathLst>
                        <a:path w="1830" h="537">
                          <a:moveTo>
                            <a:pt x="0" y="0"/>
                          </a:moveTo>
                          <a:cubicBezTo>
                            <a:pt x="181" y="185"/>
                            <a:pt x="363" y="371"/>
                            <a:pt x="635" y="454"/>
                          </a:cubicBezTo>
                          <a:cubicBezTo>
                            <a:pt x="907" y="537"/>
                            <a:pt x="1436" y="491"/>
                            <a:pt x="1633" y="499"/>
                          </a:cubicBezTo>
                          <a:cubicBezTo>
                            <a:pt x="1830" y="507"/>
                            <a:pt x="1822" y="503"/>
                            <a:pt x="1815" y="499"/>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sp>
                  <p:nvSpPr>
                    <p:cNvPr id="29" name="Text Box 9"/>
                    <p:cNvSpPr txBox="1">
                      <a:spLocks noChangeArrowheads="1"/>
                    </p:cNvSpPr>
                    <p:nvPr/>
                  </p:nvSpPr>
                  <p:spPr bwMode="auto">
                    <a:xfrm>
                      <a:off x="4435487" y="2682730"/>
                      <a:ext cx="1375505" cy="335210"/>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sp>
                  <p:nvSpPr>
                    <p:cNvPr id="30" name="Text Box 10"/>
                    <p:cNvSpPr txBox="1">
                      <a:spLocks noChangeArrowheads="1"/>
                    </p:cNvSpPr>
                    <p:nvPr/>
                  </p:nvSpPr>
                  <p:spPr bwMode="auto">
                    <a:xfrm rot="2085704">
                      <a:off x="3928460" y="4333923"/>
                      <a:ext cx="1375505" cy="335210"/>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grpSp>
                  <p:nvGrpSpPr>
                    <p:cNvPr id="40" name="Gruppieren 48">
                      <a:extLst>
                        <a:ext uri="{FF2B5EF4-FFF2-40B4-BE49-F238E27FC236}">
                          <a16:creationId xmlns:a16="http://schemas.microsoft.com/office/drawing/2014/main" id="{58014370-8777-4293-B13A-63B0821800EF}"/>
                        </a:ext>
                      </a:extLst>
                    </p:cNvPr>
                    <p:cNvGrpSpPr/>
                    <p:nvPr/>
                  </p:nvGrpSpPr>
                  <p:grpSpPr>
                    <a:xfrm>
                      <a:off x="5364617" y="2860123"/>
                      <a:ext cx="1580521" cy="2524677"/>
                      <a:chOff x="7624763" y="2750987"/>
                      <a:chExt cx="1580521" cy="2721096"/>
                    </a:xfrm>
                  </p:grpSpPr>
                  <p:grpSp>
                    <p:nvGrpSpPr>
                      <p:cNvPr id="44" name="Gruppieren 46">
                        <a:extLst>
                          <a:ext uri="{FF2B5EF4-FFF2-40B4-BE49-F238E27FC236}">
                            <a16:creationId xmlns:a16="http://schemas.microsoft.com/office/drawing/2014/main" id="{8E151708-60B2-44A0-B1D7-B26BC901B0BD}"/>
                          </a:ext>
                        </a:extLst>
                      </p:cNvPr>
                      <p:cNvGrpSpPr/>
                      <p:nvPr/>
                    </p:nvGrpSpPr>
                    <p:grpSpPr>
                      <a:xfrm>
                        <a:off x="7624763" y="2750987"/>
                        <a:ext cx="1580521" cy="2721096"/>
                        <a:chOff x="7681913" y="2820837"/>
                        <a:chExt cx="1580521" cy="2721096"/>
                      </a:xfrm>
                    </p:grpSpPr>
                    <p:sp>
                      <p:nvSpPr>
                        <p:cNvPr id="46" name="Rectangle 4" descr="Diagonal weit nach oben">
                          <a:extLst>
                            <a:ext uri="{FF2B5EF4-FFF2-40B4-BE49-F238E27FC236}">
                              <a16:creationId xmlns:a16="http://schemas.microsoft.com/office/drawing/2014/main" id="{FE99DA8F-43E0-4E8F-80D2-2247E9CB001F}"/>
                            </a:ext>
                          </a:extLst>
                        </p:cNvPr>
                        <p:cNvSpPr>
                          <a:spLocks noChangeArrowheads="1"/>
                        </p:cNvSpPr>
                        <p:nvPr/>
                      </p:nvSpPr>
                      <p:spPr bwMode="auto">
                        <a:xfrm rot="16822600">
                          <a:off x="7271709" y="3551208"/>
                          <a:ext cx="2628900" cy="1352550"/>
                        </a:xfrm>
                        <a:prstGeom prst="rect">
                          <a:avLst/>
                        </a:prstGeom>
                        <a:pattFill prst="wdUpDiag">
                          <a:fgClr>
                            <a:srgbClr val="000000"/>
                          </a:fgClr>
                          <a:bgClr>
                            <a:srgbClr val="D8D8D8"/>
                          </a:bgClr>
                        </a:pattFill>
                        <a:ln w="9525">
                          <a:noFill/>
                          <a:miter lim="800000"/>
                          <a:headEnd/>
                          <a:tailEnd/>
                        </a:ln>
                      </p:spPr>
                      <p:txBody>
                        <a:bodyPr vert="horz" wrap="square" lIns="91392" tIns="45696" rIns="91392" bIns="45696" numCol="1" anchor="t" anchorCtr="0" compatLnSpc="1">
                          <a:prstTxWarp prst="textNoShape">
                            <a:avLst/>
                          </a:prstTxWarp>
                        </a:bodyPr>
                        <a:lstStyle/>
                        <a:p>
                          <a:endParaRPr lang="de-DE" sz="1799" dirty="0"/>
                        </a:p>
                      </p:txBody>
                    </p:sp>
                    <p:cxnSp>
                      <p:nvCxnSpPr>
                        <p:cNvPr id="47" name="Gerade Verbindung 35">
                          <a:extLst>
                            <a:ext uri="{FF2B5EF4-FFF2-40B4-BE49-F238E27FC236}">
                              <a16:creationId xmlns:a16="http://schemas.microsoft.com/office/drawing/2014/main" id="{4EA382ED-B8E2-4151-8EFE-CF6CE5F999E7}"/>
                            </a:ext>
                          </a:extLst>
                        </p:cNvPr>
                        <p:cNvCxnSpPr/>
                        <p:nvPr/>
                      </p:nvCxnSpPr>
                      <p:spPr bwMode="auto">
                        <a:xfrm flipH="1">
                          <a:off x="7681913" y="2820837"/>
                          <a:ext cx="478677" cy="2584601"/>
                        </a:xfrm>
                        <a:prstGeom prst="line">
                          <a:avLst/>
                        </a:prstGeom>
                        <a:solidFill>
                          <a:schemeClr val="tx2"/>
                        </a:solid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45" name="Textfeld 44">
                        <a:extLst>
                          <a:ext uri="{FF2B5EF4-FFF2-40B4-BE49-F238E27FC236}">
                            <a16:creationId xmlns:a16="http://schemas.microsoft.com/office/drawing/2014/main" id="{63CA6989-CB17-4F9B-96C2-E2D70F67BF89}"/>
                          </a:ext>
                        </a:extLst>
                      </p:cNvPr>
                      <p:cNvSpPr txBox="1"/>
                      <p:nvPr/>
                    </p:nvSpPr>
                    <p:spPr>
                      <a:xfrm>
                        <a:off x="8111090" y="3886200"/>
                        <a:ext cx="781764" cy="525512"/>
                      </a:xfrm>
                      <a:prstGeom prst="rect">
                        <a:avLst/>
                      </a:prstGeom>
                      <a:solidFill>
                        <a:schemeClr val="bg1">
                          <a:lumMod val="85000"/>
                        </a:schemeClr>
                      </a:solidFill>
                    </p:spPr>
                    <p:txBody>
                      <a:bodyPr wrap="none" lIns="0" tIns="0" rIns="0" bIns="0" rtlCol="0">
                        <a:spAutoFit/>
                      </a:bodyPr>
                      <a:lstStyle/>
                      <a:p>
                        <a:pPr algn="ctr"/>
                        <a:r>
                          <a:rPr lang="en-US" sz="1599" dirty="0"/>
                          <a:t>Thermal</a:t>
                        </a:r>
                      </a:p>
                      <a:p>
                        <a:pPr algn="ctr"/>
                        <a:r>
                          <a:rPr lang="en-US" sz="1599" dirty="0"/>
                          <a:t>limit</a:t>
                        </a:r>
                      </a:p>
                    </p:txBody>
                  </p:sp>
                </p:grpSp>
              </p:grpSp>
            </p:grpSp>
            <p:sp>
              <p:nvSpPr>
                <p:cNvPr id="27" name="Freeform 7"/>
                <p:cNvSpPr>
                  <a:spLocks/>
                </p:cNvSpPr>
                <p:nvPr/>
              </p:nvSpPr>
              <p:spPr bwMode="auto">
                <a:xfrm>
                  <a:off x="900113" y="2935288"/>
                  <a:ext cx="5539954" cy="2642864"/>
                </a:xfrm>
                <a:custGeom>
                  <a:avLst/>
                  <a:gdLst/>
                  <a:ahLst/>
                  <a:cxnLst>
                    <a:cxn ang="0">
                      <a:pos x="0" y="0"/>
                    </a:cxn>
                    <a:cxn ang="0">
                      <a:pos x="861" y="181"/>
                    </a:cxn>
                    <a:cxn ang="0">
                      <a:pos x="1769" y="635"/>
                    </a:cxn>
                  </a:cxnLst>
                  <a:rect l="0" t="0" r="r" b="b"/>
                  <a:pathLst>
                    <a:path w="1769" h="635">
                      <a:moveTo>
                        <a:pt x="0" y="0"/>
                      </a:moveTo>
                      <a:cubicBezTo>
                        <a:pt x="283" y="37"/>
                        <a:pt x="566" y="75"/>
                        <a:pt x="861" y="181"/>
                      </a:cubicBezTo>
                      <a:cubicBezTo>
                        <a:pt x="1156" y="287"/>
                        <a:pt x="1462" y="461"/>
                        <a:pt x="1769" y="635"/>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grpSp>
          <p:sp>
            <p:nvSpPr>
              <p:cNvPr id="25" name="Freeform 5"/>
              <p:cNvSpPr>
                <a:spLocks/>
              </p:cNvSpPr>
              <p:nvPr/>
            </p:nvSpPr>
            <p:spPr bwMode="auto">
              <a:xfrm rot="401615">
                <a:off x="1489410" y="2320632"/>
                <a:ext cx="3809161" cy="1495425"/>
              </a:xfrm>
              <a:custGeom>
                <a:avLst/>
                <a:gdLst/>
                <a:ahLst/>
                <a:cxnLst>
                  <a:cxn ang="0">
                    <a:pos x="0" y="385"/>
                  </a:cxn>
                  <a:cxn ang="0">
                    <a:pos x="182" y="249"/>
                  </a:cxn>
                  <a:cxn ang="0">
                    <a:pos x="273" y="567"/>
                  </a:cxn>
                  <a:cxn ang="0">
                    <a:pos x="409" y="567"/>
                  </a:cxn>
                  <a:cxn ang="0">
                    <a:pos x="545" y="430"/>
                  </a:cxn>
                  <a:cxn ang="0">
                    <a:pos x="635" y="68"/>
                  </a:cxn>
                  <a:cxn ang="0">
                    <a:pos x="862" y="839"/>
                  </a:cxn>
                  <a:cxn ang="0">
                    <a:pos x="1061" y="684"/>
                  </a:cxn>
                  <a:cxn ang="0">
                    <a:pos x="1137" y="659"/>
                  </a:cxn>
                </a:cxnLst>
                <a:rect l="0" t="0" r="r" b="b"/>
                <a:pathLst>
                  <a:path w="1137" h="942">
                    <a:moveTo>
                      <a:pt x="0" y="385"/>
                    </a:moveTo>
                    <a:cubicBezTo>
                      <a:pt x="68" y="302"/>
                      <a:pt x="136" y="219"/>
                      <a:pt x="182" y="249"/>
                    </a:cubicBezTo>
                    <a:cubicBezTo>
                      <a:pt x="228" y="279"/>
                      <a:pt x="235" y="514"/>
                      <a:pt x="273" y="567"/>
                    </a:cubicBezTo>
                    <a:cubicBezTo>
                      <a:pt x="311" y="620"/>
                      <a:pt x="364" y="590"/>
                      <a:pt x="409" y="567"/>
                    </a:cubicBezTo>
                    <a:cubicBezTo>
                      <a:pt x="454" y="544"/>
                      <a:pt x="507" y="513"/>
                      <a:pt x="545" y="430"/>
                    </a:cubicBezTo>
                    <a:cubicBezTo>
                      <a:pt x="583" y="347"/>
                      <a:pt x="582" y="0"/>
                      <a:pt x="635" y="68"/>
                    </a:cubicBezTo>
                    <a:cubicBezTo>
                      <a:pt x="688" y="136"/>
                      <a:pt x="791" y="736"/>
                      <a:pt x="862" y="839"/>
                    </a:cubicBezTo>
                    <a:cubicBezTo>
                      <a:pt x="933" y="942"/>
                      <a:pt x="1015" y="714"/>
                      <a:pt x="1061" y="684"/>
                    </a:cubicBezTo>
                    <a:cubicBezTo>
                      <a:pt x="1107" y="654"/>
                      <a:pt x="1121" y="664"/>
                      <a:pt x="1137" y="659"/>
                    </a:cubicBezTo>
                  </a:path>
                </a:pathLst>
              </a:custGeom>
              <a:noFill/>
              <a:ln w="9525">
                <a:solidFill>
                  <a:srgbClr val="000000"/>
                </a:solidFill>
                <a:round/>
                <a:headEnd/>
                <a:tailEnd/>
              </a:ln>
              <a:effectLst/>
            </p:spPr>
            <p:txBody>
              <a:bodyPr/>
              <a:lstStyle/>
              <a:p>
                <a:pPr defTabSz="913943">
                  <a:defRPr/>
                </a:pPr>
                <a:endParaRPr lang="de-DE" sz="1799" kern="0">
                  <a:solidFill>
                    <a:sysClr val="windowText" lastClr="000000"/>
                  </a:solidFill>
                </a:endParaRPr>
              </a:p>
            </p:txBody>
          </p:sp>
        </p:grpSp>
        <p:sp>
          <p:nvSpPr>
            <p:cNvPr id="28" name="Freeform 8"/>
            <p:cNvSpPr>
              <a:spLocks/>
            </p:cNvSpPr>
            <p:nvPr/>
          </p:nvSpPr>
          <p:spPr bwMode="auto">
            <a:xfrm>
              <a:off x="3384009" y="2432660"/>
              <a:ext cx="548487" cy="545243"/>
            </a:xfrm>
            <a:custGeom>
              <a:avLst/>
              <a:gdLst>
                <a:gd name="connsiteX0" fmla="*/ 0 w 11219"/>
                <a:gd name="connsiteY0" fmla="*/ 8772 h 10000"/>
                <a:gd name="connsiteX1" fmla="*/ 6396 w 11219"/>
                <a:gd name="connsiteY1" fmla="*/ 9519 h 10000"/>
                <a:gd name="connsiteX2" fmla="*/ 11219 w 11219"/>
                <a:gd name="connsiteY2" fmla="*/ 10000 h 10000"/>
                <a:gd name="connsiteX3" fmla="*/ 8949 w 11219"/>
                <a:gd name="connsiteY3" fmla="*/ 4880 h 10000"/>
                <a:gd name="connsiteX4" fmla="*/ 6113 w 11219"/>
                <a:gd name="connsiteY4" fmla="*/ 447 h 10000"/>
                <a:gd name="connsiteX5" fmla="*/ 4198 w 11219"/>
                <a:gd name="connsiteY5" fmla="*/ 0 h 10000"/>
                <a:gd name="connsiteX6" fmla="*/ 2992 w 11219"/>
                <a:gd name="connsiteY6" fmla="*/ 1478 h 10000"/>
                <a:gd name="connsiteX7" fmla="*/ 2354 w 11219"/>
                <a:gd name="connsiteY7" fmla="*/ 4570 h 10000"/>
                <a:gd name="connsiteX8" fmla="*/ 2070 w 11219"/>
                <a:gd name="connsiteY8" fmla="*/ 6117 h 10000"/>
                <a:gd name="connsiteX9" fmla="*/ 0 w 11219"/>
                <a:gd name="connsiteY9" fmla="*/ 8772 h 10000"/>
                <a:gd name="connsiteX0" fmla="*/ 0 w 11219"/>
                <a:gd name="connsiteY0" fmla="*/ 8772 h 10000"/>
                <a:gd name="connsiteX1" fmla="*/ 6396 w 11219"/>
                <a:gd name="connsiteY1" fmla="*/ 9519 h 10000"/>
                <a:gd name="connsiteX2" fmla="*/ 11219 w 11219"/>
                <a:gd name="connsiteY2" fmla="*/ 10000 h 10000"/>
                <a:gd name="connsiteX3" fmla="*/ 8949 w 11219"/>
                <a:gd name="connsiteY3" fmla="*/ 4880 h 10000"/>
                <a:gd name="connsiteX4" fmla="*/ 6113 w 11219"/>
                <a:gd name="connsiteY4" fmla="*/ 447 h 10000"/>
                <a:gd name="connsiteX5" fmla="*/ 4198 w 11219"/>
                <a:gd name="connsiteY5" fmla="*/ 0 h 10000"/>
                <a:gd name="connsiteX6" fmla="*/ 2992 w 11219"/>
                <a:gd name="connsiteY6" fmla="*/ 1478 h 10000"/>
                <a:gd name="connsiteX7" fmla="*/ 2354 w 11219"/>
                <a:gd name="connsiteY7" fmla="*/ 4570 h 10000"/>
                <a:gd name="connsiteX8" fmla="*/ 1320 w 11219"/>
                <a:gd name="connsiteY8" fmla="*/ 5755 h 10000"/>
                <a:gd name="connsiteX9" fmla="*/ 0 w 11219"/>
                <a:gd name="connsiteY9" fmla="*/ 8772 h 10000"/>
                <a:gd name="connsiteX0" fmla="*/ 0 w 11219"/>
                <a:gd name="connsiteY0" fmla="*/ 8772 h 10000"/>
                <a:gd name="connsiteX1" fmla="*/ 6396 w 11219"/>
                <a:gd name="connsiteY1" fmla="*/ 9519 h 10000"/>
                <a:gd name="connsiteX2" fmla="*/ 11219 w 11219"/>
                <a:gd name="connsiteY2" fmla="*/ 10000 h 10000"/>
                <a:gd name="connsiteX3" fmla="*/ 8949 w 11219"/>
                <a:gd name="connsiteY3" fmla="*/ 4880 h 10000"/>
                <a:gd name="connsiteX4" fmla="*/ 6113 w 11219"/>
                <a:gd name="connsiteY4" fmla="*/ 447 h 10000"/>
                <a:gd name="connsiteX5" fmla="*/ 4198 w 11219"/>
                <a:gd name="connsiteY5" fmla="*/ 0 h 10000"/>
                <a:gd name="connsiteX6" fmla="*/ 2992 w 11219"/>
                <a:gd name="connsiteY6" fmla="*/ 1478 h 10000"/>
                <a:gd name="connsiteX7" fmla="*/ 1932 w 11219"/>
                <a:gd name="connsiteY7" fmla="*/ 4072 h 10000"/>
                <a:gd name="connsiteX8" fmla="*/ 1320 w 11219"/>
                <a:gd name="connsiteY8" fmla="*/ 5755 h 10000"/>
                <a:gd name="connsiteX9" fmla="*/ 0 w 11219"/>
                <a:gd name="connsiteY9" fmla="*/ 8772 h 10000"/>
                <a:gd name="connsiteX0" fmla="*/ 0 w 11219"/>
                <a:gd name="connsiteY0" fmla="*/ 8998 h 10226"/>
                <a:gd name="connsiteX1" fmla="*/ 6396 w 11219"/>
                <a:gd name="connsiteY1" fmla="*/ 9745 h 10226"/>
                <a:gd name="connsiteX2" fmla="*/ 11219 w 11219"/>
                <a:gd name="connsiteY2" fmla="*/ 10226 h 10226"/>
                <a:gd name="connsiteX3" fmla="*/ 8949 w 11219"/>
                <a:gd name="connsiteY3" fmla="*/ 5106 h 10226"/>
                <a:gd name="connsiteX4" fmla="*/ 6113 w 11219"/>
                <a:gd name="connsiteY4" fmla="*/ 673 h 10226"/>
                <a:gd name="connsiteX5" fmla="*/ 4479 w 11219"/>
                <a:gd name="connsiteY5" fmla="*/ 0 h 10226"/>
                <a:gd name="connsiteX6" fmla="*/ 2992 w 11219"/>
                <a:gd name="connsiteY6" fmla="*/ 1704 h 10226"/>
                <a:gd name="connsiteX7" fmla="*/ 1932 w 11219"/>
                <a:gd name="connsiteY7" fmla="*/ 4298 h 10226"/>
                <a:gd name="connsiteX8" fmla="*/ 1320 w 11219"/>
                <a:gd name="connsiteY8" fmla="*/ 5981 h 10226"/>
                <a:gd name="connsiteX9" fmla="*/ 0 w 11219"/>
                <a:gd name="connsiteY9" fmla="*/ 8998 h 10226"/>
                <a:gd name="connsiteX0" fmla="*/ 0 w 11219"/>
                <a:gd name="connsiteY0" fmla="*/ 9272 h 10500"/>
                <a:gd name="connsiteX1" fmla="*/ 6396 w 11219"/>
                <a:gd name="connsiteY1" fmla="*/ 10019 h 10500"/>
                <a:gd name="connsiteX2" fmla="*/ 11219 w 11219"/>
                <a:gd name="connsiteY2" fmla="*/ 10500 h 10500"/>
                <a:gd name="connsiteX3" fmla="*/ 8949 w 11219"/>
                <a:gd name="connsiteY3" fmla="*/ 5380 h 10500"/>
                <a:gd name="connsiteX4" fmla="*/ 6113 w 11219"/>
                <a:gd name="connsiteY4" fmla="*/ 947 h 10500"/>
                <a:gd name="connsiteX5" fmla="*/ 4479 w 11219"/>
                <a:gd name="connsiteY5" fmla="*/ 274 h 10500"/>
                <a:gd name="connsiteX6" fmla="*/ 2992 w 11219"/>
                <a:gd name="connsiteY6" fmla="*/ 1978 h 10500"/>
                <a:gd name="connsiteX7" fmla="*/ 1932 w 11219"/>
                <a:gd name="connsiteY7" fmla="*/ 4572 h 10500"/>
                <a:gd name="connsiteX8" fmla="*/ 1320 w 11219"/>
                <a:gd name="connsiteY8" fmla="*/ 6255 h 10500"/>
                <a:gd name="connsiteX9" fmla="*/ 0 w 11219"/>
                <a:gd name="connsiteY9" fmla="*/ 9272 h 10500"/>
                <a:gd name="connsiteX0" fmla="*/ 0 w 11219"/>
                <a:gd name="connsiteY0" fmla="*/ 9272 h 10500"/>
                <a:gd name="connsiteX1" fmla="*/ 6396 w 11219"/>
                <a:gd name="connsiteY1" fmla="*/ 10019 h 10500"/>
                <a:gd name="connsiteX2" fmla="*/ 11219 w 11219"/>
                <a:gd name="connsiteY2" fmla="*/ 10500 h 10500"/>
                <a:gd name="connsiteX3" fmla="*/ 8949 w 11219"/>
                <a:gd name="connsiteY3" fmla="*/ 5380 h 10500"/>
                <a:gd name="connsiteX4" fmla="*/ 6441 w 11219"/>
                <a:gd name="connsiteY4" fmla="*/ 721 h 10500"/>
                <a:gd name="connsiteX5" fmla="*/ 4479 w 11219"/>
                <a:gd name="connsiteY5" fmla="*/ 274 h 10500"/>
                <a:gd name="connsiteX6" fmla="*/ 2992 w 11219"/>
                <a:gd name="connsiteY6" fmla="*/ 1978 h 10500"/>
                <a:gd name="connsiteX7" fmla="*/ 1932 w 11219"/>
                <a:gd name="connsiteY7" fmla="*/ 4572 h 10500"/>
                <a:gd name="connsiteX8" fmla="*/ 1320 w 11219"/>
                <a:gd name="connsiteY8" fmla="*/ 6255 h 10500"/>
                <a:gd name="connsiteX9" fmla="*/ 0 w 11219"/>
                <a:gd name="connsiteY9" fmla="*/ 9272 h 10500"/>
                <a:gd name="connsiteX0" fmla="*/ 0 w 11219"/>
                <a:gd name="connsiteY0" fmla="*/ 9364 h 10592"/>
                <a:gd name="connsiteX1" fmla="*/ 6396 w 11219"/>
                <a:gd name="connsiteY1" fmla="*/ 10111 h 10592"/>
                <a:gd name="connsiteX2" fmla="*/ 11219 w 11219"/>
                <a:gd name="connsiteY2" fmla="*/ 10592 h 10592"/>
                <a:gd name="connsiteX3" fmla="*/ 8949 w 11219"/>
                <a:gd name="connsiteY3" fmla="*/ 5472 h 10592"/>
                <a:gd name="connsiteX4" fmla="*/ 6441 w 11219"/>
                <a:gd name="connsiteY4" fmla="*/ 813 h 10592"/>
                <a:gd name="connsiteX5" fmla="*/ 4479 w 11219"/>
                <a:gd name="connsiteY5" fmla="*/ 366 h 10592"/>
                <a:gd name="connsiteX6" fmla="*/ 2992 w 11219"/>
                <a:gd name="connsiteY6" fmla="*/ 2070 h 10592"/>
                <a:gd name="connsiteX7" fmla="*/ 1932 w 11219"/>
                <a:gd name="connsiteY7" fmla="*/ 4664 h 10592"/>
                <a:gd name="connsiteX8" fmla="*/ 1320 w 11219"/>
                <a:gd name="connsiteY8" fmla="*/ 6347 h 10592"/>
                <a:gd name="connsiteX9" fmla="*/ 0 w 11219"/>
                <a:gd name="connsiteY9" fmla="*/ 9364 h 10592"/>
                <a:gd name="connsiteX0" fmla="*/ 0 w 10797"/>
                <a:gd name="connsiteY0" fmla="*/ 9364 h 10366"/>
                <a:gd name="connsiteX1" fmla="*/ 6396 w 10797"/>
                <a:gd name="connsiteY1" fmla="*/ 10111 h 10366"/>
                <a:gd name="connsiteX2" fmla="*/ 10797 w 10797"/>
                <a:gd name="connsiteY2" fmla="*/ 10366 h 10366"/>
                <a:gd name="connsiteX3" fmla="*/ 8949 w 10797"/>
                <a:gd name="connsiteY3" fmla="*/ 5472 h 10366"/>
                <a:gd name="connsiteX4" fmla="*/ 6441 w 10797"/>
                <a:gd name="connsiteY4" fmla="*/ 813 h 10366"/>
                <a:gd name="connsiteX5" fmla="*/ 4479 w 10797"/>
                <a:gd name="connsiteY5" fmla="*/ 366 h 10366"/>
                <a:gd name="connsiteX6" fmla="*/ 2992 w 10797"/>
                <a:gd name="connsiteY6" fmla="*/ 2070 h 10366"/>
                <a:gd name="connsiteX7" fmla="*/ 1932 w 10797"/>
                <a:gd name="connsiteY7" fmla="*/ 4664 h 10366"/>
                <a:gd name="connsiteX8" fmla="*/ 1320 w 10797"/>
                <a:gd name="connsiteY8" fmla="*/ 6347 h 10366"/>
                <a:gd name="connsiteX9" fmla="*/ 0 w 10797"/>
                <a:gd name="connsiteY9" fmla="*/ 9364 h 10366"/>
                <a:gd name="connsiteX0" fmla="*/ 0 w 10797"/>
                <a:gd name="connsiteY0" fmla="*/ 9364 h 10366"/>
                <a:gd name="connsiteX1" fmla="*/ 6349 w 10797"/>
                <a:gd name="connsiteY1" fmla="*/ 10020 h 10366"/>
                <a:gd name="connsiteX2" fmla="*/ 10797 w 10797"/>
                <a:gd name="connsiteY2" fmla="*/ 10366 h 10366"/>
                <a:gd name="connsiteX3" fmla="*/ 8949 w 10797"/>
                <a:gd name="connsiteY3" fmla="*/ 5472 h 10366"/>
                <a:gd name="connsiteX4" fmla="*/ 6441 w 10797"/>
                <a:gd name="connsiteY4" fmla="*/ 813 h 10366"/>
                <a:gd name="connsiteX5" fmla="*/ 4479 w 10797"/>
                <a:gd name="connsiteY5" fmla="*/ 366 h 10366"/>
                <a:gd name="connsiteX6" fmla="*/ 2992 w 10797"/>
                <a:gd name="connsiteY6" fmla="*/ 2070 h 10366"/>
                <a:gd name="connsiteX7" fmla="*/ 1932 w 10797"/>
                <a:gd name="connsiteY7" fmla="*/ 4664 h 10366"/>
                <a:gd name="connsiteX8" fmla="*/ 1320 w 10797"/>
                <a:gd name="connsiteY8" fmla="*/ 6347 h 10366"/>
                <a:gd name="connsiteX9" fmla="*/ 0 w 10797"/>
                <a:gd name="connsiteY9" fmla="*/ 9364 h 1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7" h="10366">
                  <a:moveTo>
                    <a:pt x="0" y="9364"/>
                  </a:moveTo>
                  <a:lnTo>
                    <a:pt x="6349" y="10020"/>
                  </a:lnTo>
                  <a:lnTo>
                    <a:pt x="10797" y="10366"/>
                  </a:lnTo>
                  <a:lnTo>
                    <a:pt x="8949" y="5472"/>
                  </a:lnTo>
                  <a:lnTo>
                    <a:pt x="6441" y="813"/>
                  </a:lnTo>
                  <a:cubicBezTo>
                    <a:pt x="5193" y="0"/>
                    <a:pt x="5352" y="92"/>
                    <a:pt x="4479" y="366"/>
                  </a:cubicBezTo>
                  <a:lnTo>
                    <a:pt x="2992" y="2070"/>
                  </a:lnTo>
                  <a:lnTo>
                    <a:pt x="1932" y="4664"/>
                  </a:lnTo>
                  <a:cubicBezTo>
                    <a:pt x="1837" y="5180"/>
                    <a:pt x="1415" y="5831"/>
                    <a:pt x="1320" y="6347"/>
                  </a:cubicBezTo>
                  <a:lnTo>
                    <a:pt x="0" y="9364"/>
                  </a:lnTo>
                  <a:close/>
                </a:path>
              </a:pathLst>
            </a:custGeom>
            <a:solidFill>
              <a:srgbClr val="FF0000"/>
            </a:solidFill>
            <a:ln w="9525">
              <a:noFill/>
              <a:round/>
              <a:headEnd/>
              <a:tailEnd/>
            </a:ln>
            <a:effectLst/>
          </p:spPr>
          <p:txBody>
            <a:bodyPr/>
            <a:lstStyle/>
            <a:p>
              <a:pPr defTabSz="913943">
                <a:defRPr/>
              </a:pPr>
              <a:endParaRPr lang="de-DE" sz="1799" kern="0">
                <a:solidFill>
                  <a:sysClr val="windowText" lastClr="000000"/>
                </a:solidFill>
              </a:endParaRPr>
            </a:p>
          </p:txBody>
        </p:sp>
        <p:sp>
          <p:nvSpPr>
            <p:cNvPr id="31" name="Text Box 11"/>
            <p:cNvSpPr txBox="1">
              <a:spLocks noChangeArrowheads="1"/>
            </p:cNvSpPr>
            <p:nvPr/>
          </p:nvSpPr>
          <p:spPr bwMode="auto">
            <a:xfrm>
              <a:off x="521758" y="2338389"/>
              <a:ext cx="1262157" cy="304609"/>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RE-EVENT</a:t>
              </a:r>
              <a:endParaRPr lang="en-US" sz="1399" kern="0" dirty="0">
                <a:solidFill>
                  <a:srgbClr val="949EAA"/>
                </a:solidFill>
              </a:endParaRPr>
            </a:p>
          </p:txBody>
        </p:sp>
        <p:sp>
          <p:nvSpPr>
            <p:cNvPr id="34" name="Text Box 14"/>
            <p:cNvSpPr txBox="1">
              <a:spLocks noChangeArrowheads="1"/>
            </p:cNvSpPr>
            <p:nvPr/>
          </p:nvSpPr>
          <p:spPr bwMode="auto">
            <a:xfrm>
              <a:off x="4616212" y="1756812"/>
              <a:ext cx="2285618" cy="365684"/>
            </a:xfrm>
            <a:prstGeom prst="rect">
              <a:avLst/>
            </a:prstGeom>
            <a:noFill/>
            <a:ln w="9525">
              <a:noFill/>
              <a:miter lim="800000"/>
              <a:headEnd/>
              <a:tailEnd/>
            </a:ln>
            <a:effectLst/>
          </p:spPr>
          <p:txBody>
            <a:bodyPr wrap="none">
              <a:spAutoFit/>
            </a:bodyPr>
            <a:lstStyle/>
            <a:p>
              <a:pPr defTabSz="913943">
                <a:buFontTx/>
                <a:buChar char="-"/>
                <a:defRPr/>
              </a:pPr>
              <a:r>
                <a:rPr lang="en-US" sz="1799" b="1" kern="0" dirty="0">
                  <a:solidFill>
                    <a:srgbClr val="FF0000"/>
                  </a:solidFill>
                </a:rPr>
                <a:t> Stability problem</a:t>
              </a:r>
            </a:p>
          </p:txBody>
        </p:sp>
        <p:sp>
          <p:nvSpPr>
            <p:cNvPr id="39" name="Oval 19"/>
            <p:cNvSpPr>
              <a:spLocks noChangeArrowheads="1"/>
            </p:cNvSpPr>
            <p:nvPr/>
          </p:nvSpPr>
          <p:spPr bwMode="auto">
            <a:xfrm>
              <a:off x="1385888" y="2664354"/>
              <a:ext cx="117475" cy="123825"/>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nvGrpSpPr>
            <p:cNvPr id="4" name="Group 20"/>
            <p:cNvGrpSpPr>
              <a:grpSpLocks/>
            </p:cNvGrpSpPr>
            <p:nvPr/>
          </p:nvGrpSpPr>
          <p:grpSpPr bwMode="auto">
            <a:xfrm>
              <a:off x="4383221" y="3193269"/>
              <a:ext cx="1385887" cy="476703"/>
              <a:chOff x="1274" y="1144"/>
              <a:chExt cx="1164" cy="335"/>
            </a:xfrm>
          </p:grpSpPr>
          <p:sp>
            <p:nvSpPr>
              <p:cNvPr id="41" name="Text Box 21"/>
              <p:cNvSpPr txBox="1">
                <a:spLocks noChangeArrowheads="1"/>
              </p:cNvSpPr>
              <p:nvPr/>
            </p:nvSpPr>
            <p:spPr bwMode="auto">
              <a:xfrm>
                <a:off x="1274" y="1144"/>
                <a:ext cx="1164" cy="214"/>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OST-EVENT</a:t>
                </a:r>
                <a:endParaRPr lang="en-US" sz="1399" kern="0" dirty="0">
                  <a:solidFill>
                    <a:srgbClr val="949EAA"/>
                  </a:solidFill>
                </a:endParaRPr>
              </a:p>
            </p:txBody>
          </p:sp>
          <p:sp>
            <p:nvSpPr>
              <p:cNvPr id="42" name="Oval 22"/>
              <p:cNvSpPr>
                <a:spLocks noChangeArrowheads="1"/>
              </p:cNvSpPr>
              <p:nvPr/>
            </p:nvSpPr>
            <p:spPr bwMode="auto">
              <a:xfrm>
                <a:off x="1977" y="1389"/>
                <a:ext cx="91" cy="90"/>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sp>
          <p:nvSpPr>
            <p:cNvPr id="43" name="Line 23"/>
            <p:cNvSpPr>
              <a:spLocks noChangeShapeType="1"/>
            </p:cNvSpPr>
            <p:nvPr/>
          </p:nvSpPr>
          <p:spPr bwMode="auto">
            <a:xfrm flipH="1">
              <a:off x="3869796" y="2055877"/>
              <a:ext cx="755821" cy="548154"/>
            </a:xfrm>
            <a:prstGeom prst="line">
              <a:avLst/>
            </a:prstGeom>
            <a:noFill/>
            <a:ln w="9525">
              <a:solidFill>
                <a:srgbClr val="FF0000"/>
              </a:solidFill>
              <a:round/>
              <a:headEnd/>
              <a:tailEnd type="triangle" w="med" len="med"/>
            </a:ln>
            <a:effectLst/>
          </p:spPr>
          <p:txBody>
            <a:bodyPr wrap="square" lIns="0" tIns="0" rIns="0" bIns="0">
              <a:spAutoFit/>
            </a:bodyPr>
            <a:lstStyle/>
            <a:p>
              <a:pPr defTabSz="913943">
                <a:defRPr/>
              </a:pPr>
              <a:endParaRPr lang="de-DE" sz="1799" kern="0">
                <a:solidFill>
                  <a:sysClr val="windowText" lastClr="000000"/>
                </a:solidFill>
              </a:endParaRPr>
            </a:p>
          </p:txBody>
        </p:sp>
      </p:grpSp>
      <p:sp>
        <p:nvSpPr>
          <p:cNvPr id="22" name="Rectangle 2">
            <a:extLst>
              <a:ext uri="{FF2B5EF4-FFF2-40B4-BE49-F238E27FC236}">
                <a16:creationId xmlns:a16="http://schemas.microsoft.com/office/drawing/2014/main" id="{C84030E5-B54E-47A0-B31C-F43E9FF48D63}"/>
              </a:ext>
            </a:extLst>
          </p:cNvPr>
          <p:cNvSpPr txBox="1">
            <a:spLocks noChangeArrowheads="1"/>
          </p:cNvSpPr>
          <p:nvPr/>
        </p:nvSpPr>
        <p:spPr bwMode="auto">
          <a:xfrm>
            <a:off x="0" y="1784"/>
            <a:ext cx="12192000" cy="1439250"/>
          </a:xfrm>
          <a:prstGeom prst="rect">
            <a:avLst/>
          </a:prstGeom>
          <a:noFill/>
          <a:ln w="9525">
            <a:noFill/>
            <a:miter lim="800000"/>
            <a:headEnd/>
            <a:tailEnd/>
          </a:ln>
        </p:spPr>
        <p:txBody>
          <a:bodyPr vert="horz" wrap="square" lIns="626074" tIns="431775" rIns="2745370" bIns="233878" numCol="1" anchor="t" anchorCtr="0" compatLnSpc="1">
            <a:prstTxWarp prst="textNoShape">
              <a:avLst/>
            </a:prstTxWarp>
          </a:bodyPr>
          <a:lstStyle>
            <a:lvl1pPr algn="l" rtl="0" fontAlgn="base">
              <a:spcBef>
                <a:spcPct val="0"/>
              </a:spcBef>
              <a:spcAft>
                <a:spcPct val="0"/>
              </a:spcAft>
              <a:defRPr sz="2200" b="1">
                <a:solidFill>
                  <a:srgbClr val="00646E"/>
                </a:solidFill>
                <a:latin typeface="Arial" pitchFamily="34" charset="0"/>
                <a:ea typeface="+mj-ea"/>
                <a:cs typeface="Arial" pitchFamily="34" charset="0"/>
              </a:defRPr>
            </a:lvl1pPr>
            <a:lvl2pPr algn="l" rtl="0" fontAlgn="base">
              <a:spcBef>
                <a:spcPct val="0"/>
              </a:spcBef>
              <a:spcAft>
                <a:spcPct val="0"/>
              </a:spcAft>
              <a:defRPr sz="2000" b="1">
                <a:solidFill>
                  <a:schemeClr val="tx1"/>
                </a:solidFill>
                <a:latin typeface="Arial" charset="0"/>
                <a:ea typeface="ＭＳ Ｐゴシック" charset="-128"/>
              </a:defRPr>
            </a:lvl2pPr>
            <a:lvl3pPr algn="l" rtl="0" fontAlgn="base">
              <a:spcBef>
                <a:spcPct val="0"/>
              </a:spcBef>
              <a:spcAft>
                <a:spcPct val="0"/>
              </a:spcAft>
              <a:defRPr sz="2000" b="1">
                <a:solidFill>
                  <a:schemeClr val="tx1"/>
                </a:solidFill>
                <a:latin typeface="Arial" charset="0"/>
                <a:ea typeface="ＭＳ Ｐゴシック" charset="-128"/>
              </a:defRPr>
            </a:lvl3pPr>
            <a:lvl4pPr algn="l" rtl="0" fontAlgn="base">
              <a:spcBef>
                <a:spcPct val="0"/>
              </a:spcBef>
              <a:spcAft>
                <a:spcPct val="0"/>
              </a:spcAft>
              <a:defRPr sz="2000" b="1">
                <a:solidFill>
                  <a:schemeClr val="tx1"/>
                </a:solidFill>
                <a:latin typeface="Arial" charset="0"/>
                <a:ea typeface="ＭＳ Ｐゴシック" charset="-128"/>
              </a:defRPr>
            </a:lvl4pPr>
            <a:lvl5pPr algn="l" rtl="0" fontAlgn="base">
              <a:spcBef>
                <a:spcPct val="0"/>
              </a:spcBef>
              <a:spcAft>
                <a:spcPct val="0"/>
              </a:spcAft>
              <a:defRPr sz="2000" b="1">
                <a:solidFill>
                  <a:schemeClr val="tx1"/>
                </a:solidFill>
                <a:latin typeface="Arial" charset="0"/>
                <a:ea typeface="ＭＳ Ｐゴシック" charset="-128"/>
              </a:defRPr>
            </a:lvl5pPr>
            <a:lvl6pPr marL="457200" algn="l" rtl="0" eaLnBrk="1" fontAlgn="base" hangingPunct="1">
              <a:spcBef>
                <a:spcPct val="0"/>
              </a:spcBef>
              <a:spcAft>
                <a:spcPct val="0"/>
              </a:spcAft>
              <a:defRPr sz="2000" b="1">
                <a:solidFill>
                  <a:schemeClr val="tx1"/>
                </a:solidFill>
                <a:latin typeface="Arial" charset="0"/>
                <a:ea typeface="ヒラギノ角ゴ Pro W3" charset="0"/>
              </a:defRPr>
            </a:lvl6pPr>
            <a:lvl7pPr marL="914400" algn="l" rtl="0" eaLnBrk="1" fontAlgn="base" hangingPunct="1">
              <a:spcBef>
                <a:spcPct val="0"/>
              </a:spcBef>
              <a:spcAft>
                <a:spcPct val="0"/>
              </a:spcAft>
              <a:defRPr sz="2000" b="1">
                <a:solidFill>
                  <a:schemeClr val="tx1"/>
                </a:solidFill>
                <a:latin typeface="Arial" charset="0"/>
                <a:ea typeface="ヒラギノ角ゴ Pro W3" charset="0"/>
              </a:defRPr>
            </a:lvl7pPr>
            <a:lvl8pPr marL="1371600" algn="l" rtl="0" eaLnBrk="1" fontAlgn="base" hangingPunct="1">
              <a:spcBef>
                <a:spcPct val="0"/>
              </a:spcBef>
              <a:spcAft>
                <a:spcPct val="0"/>
              </a:spcAft>
              <a:defRPr sz="2000" b="1">
                <a:solidFill>
                  <a:schemeClr val="tx1"/>
                </a:solidFill>
                <a:latin typeface="Arial" charset="0"/>
                <a:ea typeface="ヒラギノ角ゴ Pro W3" charset="0"/>
              </a:defRPr>
            </a:lvl8pPr>
            <a:lvl9pPr marL="1828800" algn="l" rtl="0" eaLnBrk="1" fontAlgn="base" hangingPunct="1">
              <a:spcBef>
                <a:spcPct val="0"/>
              </a:spcBef>
              <a:spcAft>
                <a:spcPct val="0"/>
              </a:spcAft>
              <a:defRPr sz="2000" b="1">
                <a:solidFill>
                  <a:schemeClr val="tx1"/>
                </a:solidFill>
                <a:latin typeface="Arial" charset="0"/>
                <a:ea typeface="ヒラギノ角ゴ Pro W3" charset="0"/>
              </a:defRPr>
            </a:lvl9pPr>
          </a:lstStyle>
          <a:p>
            <a:r>
              <a:rPr lang="en-US" sz="2199" kern="0" dirty="0"/>
              <a:t>SIGUARD</a:t>
            </a:r>
            <a:r>
              <a:rPr lang="en-US" sz="2199" kern="0" baseline="30000" dirty="0"/>
              <a:t>TM</a:t>
            </a:r>
            <a:r>
              <a:rPr lang="en-US" sz="2199" kern="0" dirty="0"/>
              <a:t> PDP WAP</a:t>
            </a:r>
            <a:br>
              <a:rPr lang="en-US" sz="2199" kern="0" dirty="0"/>
            </a:br>
            <a:r>
              <a:rPr lang="en-US" sz="2199" dirty="0"/>
              <a:t>Why do we measure phasors? Stability Problems</a:t>
            </a:r>
            <a:r>
              <a:rPr lang="en-US" sz="2199" kern="0" dirty="0"/>
              <a:t> </a:t>
            </a:r>
          </a:p>
        </p:txBody>
      </p:sp>
      <p:pic>
        <p:nvPicPr>
          <p:cNvPr id="23" name="Picture 22">
            <a:extLst>
              <a:ext uri="{FF2B5EF4-FFF2-40B4-BE49-F238E27FC236}">
                <a16:creationId xmlns:a16="http://schemas.microsoft.com/office/drawing/2014/main" id="{CB283486-59EB-4EA1-B97B-8C50BC914D98}"/>
              </a:ext>
            </a:extLst>
          </p:cNvPr>
          <p:cNvPicPr>
            <a:picLocks noChangeAspect="1"/>
          </p:cNvPicPr>
          <p:nvPr/>
        </p:nvPicPr>
        <p:blipFill>
          <a:blip r:embed="rId2"/>
          <a:stretch>
            <a:fillRect/>
          </a:stretch>
        </p:blipFill>
        <p:spPr>
          <a:xfrm>
            <a:off x="368396" y="3422959"/>
            <a:ext cx="2442932" cy="736248"/>
          </a:xfrm>
          <a:prstGeom prst="rect">
            <a:avLst/>
          </a:prstGeom>
        </p:spPr>
      </p:pic>
      <p:grpSp>
        <p:nvGrpSpPr>
          <p:cNvPr id="32" name="Group 31">
            <a:extLst>
              <a:ext uri="{FF2B5EF4-FFF2-40B4-BE49-F238E27FC236}">
                <a16:creationId xmlns:a16="http://schemas.microsoft.com/office/drawing/2014/main" id="{D6756D62-E5A6-452A-A56D-7EF473DACFC3}"/>
              </a:ext>
            </a:extLst>
          </p:cNvPr>
          <p:cNvGrpSpPr/>
          <p:nvPr/>
        </p:nvGrpSpPr>
        <p:grpSpPr>
          <a:xfrm>
            <a:off x="7435426" y="1698828"/>
            <a:ext cx="4570537" cy="2989657"/>
            <a:chOff x="1035891" y="2713113"/>
            <a:chExt cx="4778044" cy="3559164"/>
          </a:xfrm>
        </p:grpSpPr>
        <p:pic>
          <p:nvPicPr>
            <p:cNvPr id="33" name="Picture 32">
              <a:extLst>
                <a:ext uri="{FF2B5EF4-FFF2-40B4-BE49-F238E27FC236}">
                  <a16:creationId xmlns:a16="http://schemas.microsoft.com/office/drawing/2014/main" id="{F1968A68-97E4-48CB-AFF9-CF015D148224}"/>
                </a:ext>
              </a:extLst>
            </p:cNvPr>
            <p:cNvPicPr>
              <a:picLocks noChangeAspect="1"/>
            </p:cNvPicPr>
            <p:nvPr/>
          </p:nvPicPr>
          <p:blipFill>
            <a:blip r:embed="rId3"/>
            <a:stretch>
              <a:fillRect/>
            </a:stretch>
          </p:blipFill>
          <p:spPr>
            <a:xfrm>
              <a:off x="1035891" y="3027424"/>
              <a:ext cx="4778044" cy="1440000"/>
            </a:xfrm>
            <a:prstGeom prst="rect">
              <a:avLst/>
            </a:prstGeom>
          </p:spPr>
        </p:pic>
        <p:pic>
          <p:nvPicPr>
            <p:cNvPr id="35" name="Picture 34">
              <a:extLst>
                <a:ext uri="{FF2B5EF4-FFF2-40B4-BE49-F238E27FC236}">
                  <a16:creationId xmlns:a16="http://schemas.microsoft.com/office/drawing/2014/main" id="{DF5F4C38-45AC-4B2F-BFF4-113C8AF01591}"/>
                </a:ext>
              </a:extLst>
            </p:cNvPr>
            <p:cNvPicPr>
              <a:picLocks noChangeAspect="1"/>
            </p:cNvPicPr>
            <p:nvPr/>
          </p:nvPicPr>
          <p:blipFill>
            <a:blip r:embed="rId4"/>
            <a:stretch>
              <a:fillRect/>
            </a:stretch>
          </p:blipFill>
          <p:spPr>
            <a:xfrm>
              <a:off x="1133889" y="4326553"/>
              <a:ext cx="2304256" cy="1945724"/>
            </a:xfrm>
            <a:prstGeom prst="rect">
              <a:avLst/>
            </a:prstGeom>
          </p:spPr>
        </p:pic>
        <p:sp>
          <p:nvSpPr>
            <p:cNvPr id="36" name="TextBox 35">
              <a:extLst>
                <a:ext uri="{FF2B5EF4-FFF2-40B4-BE49-F238E27FC236}">
                  <a16:creationId xmlns:a16="http://schemas.microsoft.com/office/drawing/2014/main" id="{0365AD7F-EA6B-4E2A-8401-34DC47859DC7}"/>
                </a:ext>
              </a:extLst>
            </p:cNvPr>
            <p:cNvSpPr txBox="1"/>
            <p:nvPr/>
          </p:nvSpPr>
          <p:spPr>
            <a:xfrm>
              <a:off x="2462497" y="2713113"/>
              <a:ext cx="1507651" cy="314311"/>
            </a:xfrm>
            <a:prstGeom prst="rect">
              <a:avLst/>
            </a:prstGeom>
            <a:noFill/>
          </p:spPr>
          <p:txBody>
            <a:bodyPr wrap="none" lIns="0" tIns="0" rIns="0" bIns="0" rtlCol="0">
              <a:noAutofit/>
            </a:bodyPr>
            <a:lstStyle/>
            <a:p>
              <a:pPr>
                <a:lnSpc>
                  <a:spcPct val="110000"/>
                </a:lnSpc>
              </a:pPr>
              <a:r>
                <a:rPr lang="en-US" altLang="en-US" sz="1799" dirty="0"/>
                <a:t>Transient Stability</a:t>
              </a:r>
            </a:p>
            <a:p>
              <a:pPr>
                <a:lnSpc>
                  <a:spcPct val="110000"/>
                </a:lnSpc>
              </a:pPr>
              <a:endParaRPr lang="en-US" sz="1199" dirty="0">
                <a:solidFill>
                  <a:srgbClr val="004669"/>
                </a:solidFill>
                <a:ea typeface="Arial Unicode MS" panose="020B0604020202020204" pitchFamily="34" charset="-128"/>
                <a:cs typeface="Arial Unicode MS" panose="020B0604020202020204" pitchFamily="34" charset="-128"/>
              </a:endParaRPr>
            </a:p>
          </p:txBody>
        </p:sp>
      </p:grpSp>
      <p:sp>
        <p:nvSpPr>
          <p:cNvPr id="9" name="Rectangle 8">
            <a:extLst>
              <a:ext uri="{FF2B5EF4-FFF2-40B4-BE49-F238E27FC236}">
                <a16:creationId xmlns:a16="http://schemas.microsoft.com/office/drawing/2014/main" id="{2E935692-25A5-4B59-81C6-E899C5172A2D}"/>
              </a:ext>
            </a:extLst>
          </p:cNvPr>
          <p:cNvSpPr/>
          <p:nvPr/>
        </p:nvSpPr>
        <p:spPr>
          <a:xfrm>
            <a:off x="7769341" y="4810306"/>
            <a:ext cx="2999457" cy="369140"/>
          </a:xfrm>
          <a:prstGeom prst="rect">
            <a:avLst/>
          </a:prstGeom>
        </p:spPr>
        <p:txBody>
          <a:bodyPr wrap="square">
            <a:spAutoFit/>
          </a:bodyPr>
          <a:lstStyle/>
          <a:p>
            <a:pPr>
              <a:buFontTx/>
              <a:buChar char="•"/>
            </a:pPr>
            <a:r>
              <a:rPr lang="en-US" altLang="en-US" sz="1799" dirty="0"/>
              <a:t>Small Signal Stability</a:t>
            </a:r>
          </a:p>
        </p:txBody>
      </p:sp>
      <p:grpSp>
        <p:nvGrpSpPr>
          <p:cNvPr id="11" name="Group 10">
            <a:extLst>
              <a:ext uri="{FF2B5EF4-FFF2-40B4-BE49-F238E27FC236}">
                <a16:creationId xmlns:a16="http://schemas.microsoft.com/office/drawing/2014/main" id="{8096070C-B416-4068-A3BC-8A70680D70FA}"/>
              </a:ext>
            </a:extLst>
          </p:cNvPr>
          <p:cNvGrpSpPr/>
          <p:nvPr/>
        </p:nvGrpSpPr>
        <p:grpSpPr>
          <a:xfrm>
            <a:off x="9510524" y="3172428"/>
            <a:ext cx="2516548" cy="1644493"/>
            <a:chOff x="9515477" y="3172294"/>
            <a:chExt cx="2517859" cy="1645350"/>
          </a:xfrm>
        </p:grpSpPr>
        <p:pic>
          <p:nvPicPr>
            <p:cNvPr id="37" name="Picture 2">
              <a:extLst>
                <a:ext uri="{FF2B5EF4-FFF2-40B4-BE49-F238E27FC236}">
                  <a16:creationId xmlns:a16="http://schemas.microsoft.com/office/drawing/2014/main" id="{9EDDA4F0-E040-4C53-A225-13139CD0BB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15477" y="3172294"/>
              <a:ext cx="2517859" cy="1346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a:extLst>
                <a:ext uri="{FF2B5EF4-FFF2-40B4-BE49-F238E27FC236}">
                  <a16:creationId xmlns:a16="http://schemas.microsoft.com/office/drawing/2014/main" id="{128E51E0-BD31-45E3-9B1C-697D101B422D}"/>
                </a:ext>
              </a:extLst>
            </p:cNvPr>
            <p:cNvSpPr txBox="1"/>
            <p:nvPr/>
          </p:nvSpPr>
          <p:spPr>
            <a:xfrm>
              <a:off x="10100448" y="4448312"/>
              <a:ext cx="1649685" cy="369332"/>
            </a:xfrm>
            <a:prstGeom prst="rect">
              <a:avLst/>
            </a:prstGeom>
            <a:noFill/>
          </p:spPr>
          <p:txBody>
            <a:bodyPr wrap="none" lIns="0" tIns="0" rIns="0" bIns="0" rtlCol="0">
              <a:noAutofit/>
            </a:bodyPr>
            <a:lstStyle/>
            <a:p>
              <a:pPr>
                <a:lnSpc>
                  <a:spcPct val="110000"/>
                </a:lnSpc>
              </a:pPr>
              <a:r>
                <a:rPr lang="en-US" altLang="en-US" sz="1799" dirty="0"/>
                <a:t>Voltage Stability</a:t>
              </a:r>
            </a:p>
            <a:p>
              <a:pPr>
                <a:lnSpc>
                  <a:spcPct val="110000"/>
                </a:lnSpc>
              </a:pPr>
              <a:endParaRPr lang="en-US" sz="1199" dirty="0">
                <a:ea typeface="Arial Unicode MS" panose="020B0604020202020204" pitchFamily="34" charset="-128"/>
                <a:cs typeface="Arial Unicode MS" panose="020B0604020202020204" pitchFamily="34" charset="-128"/>
              </a:endParaRPr>
            </a:p>
          </p:txBody>
        </p:sp>
      </p:grpSp>
      <p:sp>
        <p:nvSpPr>
          <p:cNvPr id="12" name="Fußzeilenplatzhalter 11">
            <a:extLst>
              <a:ext uri="{FF2B5EF4-FFF2-40B4-BE49-F238E27FC236}">
                <a16:creationId xmlns:a16="http://schemas.microsoft.com/office/drawing/2014/main" id="{C53E5E97-74FF-4BBB-ABD3-370F48A63598}"/>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13" name="Foliennummernplatzhalter 12">
            <a:extLst>
              <a:ext uri="{FF2B5EF4-FFF2-40B4-BE49-F238E27FC236}">
                <a16:creationId xmlns:a16="http://schemas.microsoft.com/office/drawing/2014/main" id="{11E1DF1F-7D84-41AB-A4B8-C616B648FFE1}"/>
              </a:ext>
            </a:extLst>
          </p:cNvPr>
          <p:cNvSpPr>
            <a:spLocks noGrp="1"/>
          </p:cNvSpPr>
          <p:nvPr>
            <p:ph type="sldNum" sz="quarter" idx="11"/>
          </p:nvPr>
        </p:nvSpPr>
        <p:spPr/>
        <p:txBody>
          <a:bodyPr/>
          <a:lstStyle/>
          <a:p>
            <a:r>
              <a:rPr lang="en-US"/>
              <a:t>Page </a:t>
            </a:r>
            <a:fld id="{15EBE321-CBB1-4E91-BD14-37C8D44326FB}" type="slidenum">
              <a:rPr lang="en-US" smtClean="0"/>
              <a:pPr/>
              <a:t>16</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2"/>
                                        </p:tgtEl>
                                        <p:attrNameLst>
                                          <p:attrName>style.visibility</p:attrName>
                                        </p:attrNameLst>
                                      </p:cBhvr>
                                      <p:to>
                                        <p:strVal val="visible"/>
                                      </p:to>
                                    </p:set>
                                    <p:animEffect transition="in" filter="fade">
                                      <p:cBhvr>
                                        <p:cTn id="11" dur="500"/>
                                        <p:tgtEl>
                                          <p:spTgt spid="32"/>
                                        </p:tgtEl>
                                      </p:cBhvr>
                                    </p:animEffect>
                                  </p:childTnLst>
                                </p:cTn>
                              </p:par>
                            </p:childTnLst>
                          </p:cTn>
                        </p:par>
                      </p:childTnLst>
                    </p:cTn>
                  </p:par>
                  <p:par>
                    <p:cTn id="12" fill="hold">
                      <p:stCondLst>
                        <p:cond delay="indefinite"/>
                      </p:stCondLst>
                      <p:childTnLst>
                        <p:par>
                          <p:cTn id="13" fill="hold">
                            <p:stCondLst>
                              <p:cond delay="0"/>
                            </p:stCondLst>
                            <p:childTnLst>
                              <p:par>
                                <p:cTn id="14" presetID="16" presetClass="entr" presetSubtype="21" fill="hold"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barn(inVertical)">
                                      <p:cBhvr>
                                        <p:cTn id="16" dur="500"/>
                                        <p:tgtEl>
                                          <p:spTgt spid="11"/>
                                        </p:tgtEl>
                                      </p:cBhvr>
                                    </p:animEffect>
                                  </p:childTnLst>
                                </p:cTn>
                              </p:par>
                            </p:childTnLst>
                          </p:cTn>
                        </p:par>
                      </p:childTnLst>
                    </p:cTn>
                  </p:par>
                  <p:par>
                    <p:cTn id="17" fill="hold">
                      <p:stCondLst>
                        <p:cond delay="indefinite"/>
                      </p:stCondLst>
                      <p:childTnLst>
                        <p:par>
                          <p:cTn id="18" fill="hold">
                            <p:stCondLst>
                              <p:cond delay="0"/>
                            </p:stCondLst>
                            <p:childTnLst>
                              <p:par>
                                <p:cTn id="19" presetID="16" presetClass="entr" presetSubtype="21"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barn(inVertical)">
                                      <p:cBhvr>
                                        <p:cTn id="2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at Actions are Possible?</a:t>
            </a:r>
            <a:br>
              <a:rPr lang="en-US" dirty="0"/>
            </a:br>
            <a:r>
              <a:rPr lang="en-US" dirty="0"/>
              <a:t>Preventive N-1 Operation </a:t>
            </a:r>
            <a:r>
              <a:rPr lang="en-US" dirty="0">
                <a:sym typeface="Wingdings" panose="05000000000000000000" pitchFamily="2" charset="2"/>
              </a:rPr>
              <a:t> state of the art</a:t>
            </a:r>
            <a:endParaRPr lang="en-US" dirty="0"/>
          </a:p>
        </p:txBody>
      </p:sp>
      <p:grpSp>
        <p:nvGrpSpPr>
          <p:cNvPr id="6" name="Group 5">
            <a:extLst>
              <a:ext uri="{FF2B5EF4-FFF2-40B4-BE49-F238E27FC236}">
                <a16:creationId xmlns:a16="http://schemas.microsoft.com/office/drawing/2014/main" id="{3E205142-C0A8-4F32-87ED-35A9D38EEBA3}"/>
              </a:ext>
            </a:extLst>
          </p:cNvPr>
          <p:cNvGrpSpPr/>
          <p:nvPr/>
        </p:nvGrpSpPr>
        <p:grpSpPr>
          <a:xfrm>
            <a:off x="390322" y="1627473"/>
            <a:ext cx="7393264" cy="4689063"/>
            <a:chOff x="390525" y="1626534"/>
            <a:chExt cx="7397115" cy="4691505"/>
          </a:xfrm>
        </p:grpSpPr>
        <p:sp>
          <p:nvSpPr>
            <p:cNvPr id="44" name="Rectangle 4"/>
            <p:cNvSpPr>
              <a:spLocks noChangeArrowheads="1"/>
            </p:cNvSpPr>
            <p:nvPr/>
          </p:nvSpPr>
          <p:spPr bwMode="auto">
            <a:xfrm>
              <a:off x="414972" y="1626534"/>
              <a:ext cx="7372668" cy="4691505"/>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wrap="none" anchor="ctr"/>
            <a:lstStyle/>
            <a:p>
              <a:pPr defTabSz="913943">
                <a:defRPr/>
              </a:pPr>
              <a:endParaRPr lang="de-DE" sz="1799" kern="0" dirty="0">
                <a:solidFill>
                  <a:sysClr val="windowText" lastClr="000000"/>
                </a:solidFill>
              </a:endParaRPr>
            </a:p>
          </p:txBody>
        </p:sp>
        <p:sp>
          <p:nvSpPr>
            <p:cNvPr id="25" name="Freeform 5"/>
            <p:cNvSpPr>
              <a:spLocks/>
            </p:cNvSpPr>
            <p:nvPr/>
          </p:nvSpPr>
          <p:spPr bwMode="auto">
            <a:xfrm rot="401615">
              <a:off x="1479885" y="2320632"/>
              <a:ext cx="3809161" cy="1495425"/>
            </a:xfrm>
            <a:custGeom>
              <a:avLst/>
              <a:gdLst/>
              <a:ahLst/>
              <a:cxnLst>
                <a:cxn ang="0">
                  <a:pos x="0" y="385"/>
                </a:cxn>
                <a:cxn ang="0">
                  <a:pos x="182" y="249"/>
                </a:cxn>
                <a:cxn ang="0">
                  <a:pos x="273" y="567"/>
                </a:cxn>
                <a:cxn ang="0">
                  <a:pos x="409" y="567"/>
                </a:cxn>
                <a:cxn ang="0">
                  <a:pos x="545" y="430"/>
                </a:cxn>
                <a:cxn ang="0">
                  <a:pos x="635" y="68"/>
                </a:cxn>
                <a:cxn ang="0">
                  <a:pos x="862" y="839"/>
                </a:cxn>
                <a:cxn ang="0">
                  <a:pos x="1061" y="684"/>
                </a:cxn>
                <a:cxn ang="0">
                  <a:pos x="1137" y="659"/>
                </a:cxn>
              </a:cxnLst>
              <a:rect l="0" t="0" r="r" b="b"/>
              <a:pathLst>
                <a:path w="1137" h="942">
                  <a:moveTo>
                    <a:pt x="0" y="385"/>
                  </a:moveTo>
                  <a:cubicBezTo>
                    <a:pt x="68" y="302"/>
                    <a:pt x="136" y="219"/>
                    <a:pt x="182" y="249"/>
                  </a:cubicBezTo>
                  <a:cubicBezTo>
                    <a:pt x="228" y="279"/>
                    <a:pt x="235" y="514"/>
                    <a:pt x="273" y="567"/>
                  </a:cubicBezTo>
                  <a:cubicBezTo>
                    <a:pt x="311" y="620"/>
                    <a:pt x="364" y="590"/>
                    <a:pt x="409" y="567"/>
                  </a:cubicBezTo>
                  <a:cubicBezTo>
                    <a:pt x="454" y="544"/>
                    <a:pt x="507" y="513"/>
                    <a:pt x="545" y="430"/>
                  </a:cubicBezTo>
                  <a:cubicBezTo>
                    <a:pt x="583" y="347"/>
                    <a:pt x="582" y="0"/>
                    <a:pt x="635" y="68"/>
                  </a:cubicBezTo>
                  <a:cubicBezTo>
                    <a:pt x="688" y="136"/>
                    <a:pt x="791" y="736"/>
                    <a:pt x="862" y="839"/>
                  </a:cubicBezTo>
                  <a:cubicBezTo>
                    <a:pt x="933" y="942"/>
                    <a:pt x="1015" y="714"/>
                    <a:pt x="1061" y="684"/>
                  </a:cubicBezTo>
                  <a:cubicBezTo>
                    <a:pt x="1107" y="654"/>
                    <a:pt x="1121" y="664"/>
                    <a:pt x="1137" y="659"/>
                  </a:cubicBezTo>
                </a:path>
              </a:pathLst>
            </a:custGeom>
            <a:noFill/>
            <a:ln w="9525">
              <a:solidFill>
                <a:srgbClr val="000000"/>
              </a:solidFill>
              <a:round/>
              <a:headEnd/>
              <a:tailEnd/>
            </a:ln>
            <a:effectLst/>
          </p:spPr>
          <p:txBody>
            <a:bodyPr/>
            <a:lstStyle/>
            <a:p>
              <a:pPr defTabSz="913943">
                <a:defRPr/>
              </a:pPr>
              <a:endParaRPr lang="de-DE" sz="1799" kern="0">
                <a:solidFill>
                  <a:sysClr val="windowText" lastClr="000000"/>
                </a:solidFill>
              </a:endParaRPr>
            </a:p>
          </p:txBody>
        </p:sp>
        <p:sp>
          <p:nvSpPr>
            <p:cNvPr id="26" name="Freeform 6"/>
            <p:cNvSpPr>
              <a:spLocks/>
            </p:cNvSpPr>
            <p:nvPr/>
          </p:nvSpPr>
          <p:spPr bwMode="auto">
            <a:xfrm>
              <a:off x="1168399" y="1782764"/>
              <a:ext cx="5672667" cy="588962"/>
            </a:xfrm>
            <a:custGeom>
              <a:avLst/>
              <a:gdLst/>
              <a:ahLst/>
              <a:cxnLst>
                <a:cxn ang="0">
                  <a:pos x="0" y="0"/>
                </a:cxn>
                <a:cxn ang="0">
                  <a:pos x="635" y="454"/>
                </a:cxn>
                <a:cxn ang="0">
                  <a:pos x="1633" y="499"/>
                </a:cxn>
                <a:cxn ang="0">
                  <a:pos x="1815" y="499"/>
                </a:cxn>
              </a:cxnLst>
              <a:rect l="0" t="0" r="r" b="b"/>
              <a:pathLst>
                <a:path w="1830" h="537">
                  <a:moveTo>
                    <a:pt x="0" y="0"/>
                  </a:moveTo>
                  <a:cubicBezTo>
                    <a:pt x="181" y="185"/>
                    <a:pt x="363" y="371"/>
                    <a:pt x="635" y="454"/>
                  </a:cubicBezTo>
                  <a:cubicBezTo>
                    <a:pt x="907" y="537"/>
                    <a:pt x="1436" y="491"/>
                    <a:pt x="1633" y="499"/>
                  </a:cubicBezTo>
                  <a:cubicBezTo>
                    <a:pt x="1830" y="507"/>
                    <a:pt x="1822" y="503"/>
                    <a:pt x="1815" y="499"/>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sp>
          <p:nvSpPr>
            <p:cNvPr id="27" name="Freeform 7"/>
            <p:cNvSpPr>
              <a:spLocks/>
            </p:cNvSpPr>
            <p:nvPr/>
          </p:nvSpPr>
          <p:spPr bwMode="auto">
            <a:xfrm>
              <a:off x="900113" y="2935287"/>
              <a:ext cx="5449887" cy="3219979"/>
            </a:xfrm>
            <a:custGeom>
              <a:avLst/>
              <a:gdLst/>
              <a:ahLst/>
              <a:cxnLst>
                <a:cxn ang="0">
                  <a:pos x="0" y="0"/>
                </a:cxn>
                <a:cxn ang="0">
                  <a:pos x="861" y="181"/>
                </a:cxn>
                <a:cxn ang="0">
                  <a:pos x="1769" y="635"/>
                </a:cxn>
              </a:cxnLst>
              <a:rect l="0" t="0" r="r" b="b"/>
              <a:pathLst>
                <a:path w="1769" h="635">
                  <a:moveTo>
                    <a:pt x="0" y="0"/>
                  </a:moveTo>
                  <a:cubicBezTo>
                    <a:pt x="283" y="37"/>
                    <a:pt x="566" y="75"/>
                    <a:pt x="861" y="181"/>
                  </a:cubicBezTo>
                  <a:cubicBezTo>
                    <a:pt x="1156" y="287"/>
                    <a:pt x="1462" y="461"/>
                    <a:pt x="1769" y="635"/>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sp>
          <p:nvSpPr>
            <p:cNvPr id="29" name="Text Box 9"/>
            <p:cNvSpPr txBox="1">
              <a:spLocks noChangeArrowheads="1"/>
            </p:cNvSpPr>
            <p:nvPr/>
          </p:nvSpPr>
          <p:spPr bwMode="auto">
            <a:xfrm>
              <a:off x="5402263" y="1962680"/>
              <a:ext cx="1322798" cy="338554"/>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sp>
          <p:nvSpPr>
            <p:cNvPr id="30" name="Text Box 10"/>
            <p:cNvSpPr txBox="1">
              <a:spLocks noChangeArrowheads="1"/>
            </p:cNvSpPr>
            <p:nvPr/>
          </p:nvSpPr>
          <p:spPr bwMode="auto">
            <a:xfrm rot="2553293">
              <a:off x="5067623" y="5622715"/>
              <a:ext cx="1322798" cy="338554"/>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sp>
          <p:nvSpPr>
            <p:cNvPr id="39" name="Oval 19"/>
            <p:cNvSpPr>
              <a:spLocks noChangeArrowheads="1"/>
            </p:cNvSpPr>
            <p:nvPr/>
          </p:nvSpPr>
          <p:spPr bwMode="auto">
            <a:xfrm>
              <a:off x="1376363" y="2664354"/>
              <a:ext cx="117475" cy="123825"/>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nvGrpSpPr>
            <p:cNvPr id="3" name="Group 20"/>
            <p:cNvGrpSpPr>
              <a:grpSpLocks/>
            </p:cNvGrpSpPr>
            <p:nvPr/>
          </p:nvGrpSpPr>
          <p:grpSpPr bwMode="auto">
            <a:xfrm>
              <a:off x="4684449" y="2404932"/>
              <a:ext cx="1332309" cy="1265043"/>
              <a:chOff x="1527" y="590"/>
              <a:chExt cx="1119" cy="889"/>
            </a:xfrm>
          </p:grpSpPr>
          <p:sp>
            <p:nvSpPr>
              <p:cNvPr id="41" name="Text Box 21"/>
              <p:cNvSpPr txBox="1">
                <a:spLocks noChangeArrowheads="1"/>
              </p:cNvSpPr>
              <p:nvPr/>
            </p:nvSpPr>
            <p:spPr bwMode="auto">
              <a:xfrm>
                <a:off x="1527" y="590"/>
                <a:ext cx="1119" cy="216"/>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OST-EVENT</a:t>
                </a:r>
                <a:endParaRPr lang="en-US" sz="1399" kern="0" dirty="0">
                  <a:solidFill>
                    <a:srgbClr val="949EAA"/>
                  </a:solidFill>
                </a:endParaRPr>
              </a:p>
            </p:txBody>
          </p:sp>
          <p:sp>
            <p:nvSpPr>
              <p:cNvPr id="42" name="Oval 22"/>
              <p:cNvSpPr>
                <a:spLocks noChangeArrowheads="1"/>
              </p:cNvSpPr>
              <p:nvPr/>
            </p:nvSpPr>
            <p:spPr bwMode="auto">
              <a:xfrm>
                <a:off x="1977" y="1389"/>
                <a:ext cx="91" cy="90"/>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grpSp>
          <p:nvGrpSpPr>
            <p:cNvPr id="4" name="Gruppieren 48"/>
            <p:cNvGrpSpPr/>
            <p:nvPr/>
          </p:nvGrpSpPr>
          <p:grpSpPr>
            <a:xfrm>
              <a:off x="4624388" y="2703362"/>
              <a:ext cx="1580521" cy="2721096"/>
              <a:chOff x="7624763" y="2750987"/>
              <a:chExt cx="1580521" cy="2721096"/>
            </a:xfrm>
          </p:grpSpPr>
          <p:grpSp>
            <p:nvGrpSpPr>
              <p:cNvPr id="5" name="Gruppieren 46"/>
              <p:cNvGrpSpPr/>
              <p:nvPr/>
            </p:nvGrpSpPr>
            <p:grpSpPr>
              <a:xfrm>
                <a:off x="7624763" y="2750987"/>
                <a:ext cx="1580521" cy="2721096"/>
                <a:chOff x="7681913" y="2820837"/>
                <a:chExt cx="1580521" cy="2721096"/>
              </a:xfrm>
            </p:grpSpPr>
            <p:sp>
              <p:nvSpPr>
                <p:cNvPr id="167940" name="Rectangle 4" descr="Diagonal weit nach oben"/>
                <p:cNvSpPr>
                  <a:spLocks noChangeArrowheads="1"/>
                </p:cNvSpPr>
                <p:nvPr/>
              </p:nvSpPr>
              <p:spPr bwMode="auto">
                <a:xfrm rot="16822600">
                  <a:off x="7271709" y="3551208"/>
                  <a:ext cx="2628900" cy="1352550"/>
                </a:xfrm>
                <a:prstGeom prst="rect">
                  <a:avLst/>
                </a:prstGeom>
                <a:pattFill prst="wdUpDiag">
                  <a:fgClr>
                    <a:srgbClr val="000000"/>
                  </a:fgClr>
                  <a:bgClr>
                    <a:srgbClr val="D8D8D8"/>
                  </a:bgClr>
                </a:pattFill>
                <a:ln w="9525">
                  <a:noFill/>
                  <a:miter lim="800000"/>
                  <a:headEnd/>
                  <a:tailEnd/>
                </a:ln>
              </p:spPr>
              <p:txBody>
                <a:bodyPr vert="horz" wrap="square" lIns="91392" tIns="45696" rIns="91392" bIns="45696" numCol="1" anchor="t" anchorCtr="0" compatLnSpc="1">
                  <a:prstTxWarp prst="textNoShape">
                    <a:avLst/>
                  </a:prstTxWarp>
                </a:bodyPr>
                <a:lstStyle/>
                <a:p>
                  <a:endParaRPr lang="de-DE" sz="1799" dirty="0"/>
                </a:p>
              </p:txBody>
            </p:sp>
            <p:cxnSp>
              <p:nvCxnSpPr>
                <p:cNvPr id="36" name="Gerade Verbindung 35"/>
                <p:cNvCxnSpPr/>
                <p:nvPr/>
              </p:nvCxnSpPr>
              <p:spPr bwMode="auto">
                <a:xfrm flipH="1">
                  <a:off x="7681913" y="2820837"/>
                  <a:ext cx="478677" cy="2584601"/>
                </a:xfrm>
                <a:prstGeom prst="line">
                  <a:avLst/>
                </a:prstGeom>
                <a:solidFill>
                  <a:schemeClr val="tx2"/>
                </a:solid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48" name="Textfeld 47"/>
              <p:cNvSpPr txBox="1"/>
              <p:nvPr/>
            </p:nvSpPr>
            <p:spPr>
              <a:xfrm>
                <a:off x="8126068" y="3886200"/>
                <a:ext cx="751809" cy="492443"/>
              </a:xfrm>
              <a:prstGeom prst="rect">
                <a:avLst/>
              </a:prstGeom>
              <a:solidFill>
                <a:schemeClr val="bg1">
                  <a:lumMod val="85000"/>
                </a:schemeClr>
              </a:solidFill>
            </p:spPr>
            <p:txBody>
              <a:bodyPr wrap="none" lIns="0" tIns="0" rIns="0" bIns="0" rtlCol="0">
                <a:spAutoFit/>
              </a:bodyPr>
              <a:lstStyle/>
              <a:p>
                <a:pPr algn="ctr"/>
                <a:r>
                  <a:rPr lang="en-US" sz="1599" dirty="0"/>
                  <a:t>Thermal</a:t>
                </a:r>
              </a:p>
              <a:p>
                <a:pPr algn="ctr"/>
                <a:r>
                  <a:rPr lang="en-US" sz="1599" dirty="0"/>
                  <a:t>limit</a:t>
                </a:r>
              </a:p>
            </p:txBody>
          </p:sp>
        </p:grpSp>
        <p:sp>
          <p:nvSpPr>
            <p:cNvPr id="35" name="Freeform 5"/>
            <p:cNvSpPr>
              <a:spLocks/>
            </p:cNvSpPr>
            <p:nvPr/>
          </p:nvSpPr>
          <p:spPr bwMode="auto">
            <a:xfrm rot="401615">
              <a:off x="651210" y="2196807"/>
              <a:ext cx="3809161" cy="1495425"/>
            </a:xfrm>
            <a:custGeom>
              <a:avLst/>
              <a:gdLst/>
              <a:ahLst/>
              <a:cxnLst>
                <a:cxn ang="0">
                  <a:pos x="0" y="385"/>
                </a:cxn>
                <a:cxn ang="0">
                  <a:pos x="182" y="249"/>
                </a:cxn>
                <a:cxn ang="0">
                  <a:pos x="273" y="567"/>
                </a:cxn>
                <a:cxn ang="0">
                  <a:pos x="409" y="567"/>
                </a:cxn>
                <a:cxn ang="0">
                  <a:pos x="545" y="430"/>
                </a:cxn>
                <a:cxn ang="0">
                  <a:pos x="635" y="68"/>
                </a:cxn>
                <a:cxn ang="0">
                  <a:pos x="862" y="839"/>
                </a:cxn>
                <a:cxn ang="0">
                  <a:pos x="1061" y="684"/>
                </a:cxn>
                <a:cxn ang="0">
                  <a:pos x="1137" y="659"/>
                </a:cxn>
              </a:cxnLst>
              <a:rect l="0" t="0" r="r" b="b"/>
              <a:pathLst>
                <a:path w="1137" h="942">
                  <a:moveTo>
                    <a:pt x="0" y="385"/>
                  </a:moveTo>
                  <a:cubicBezTo>
                    <a:pt x="68" y="302"/>
                    <a:pt x="136" y="219"/>
                    <a:pt x="182" y="249"/>
                  </a:cubicBezTo>
                  <a:cubicBezTo>
                    <a:pt x="228" y="279"/>
                    <a:pt x="235" y="514"/>
                    <a:pt x="273" y="567"/>
                  </a:cubicBezTo>
                  <a:cubicBezTo>
                    <a:pt x="311" y="620"/>
                    <a:pt x="364" y="590"/>
                    <a:pt x="409" y="567"/>
                  </a:cubicBezTo>
                  <a:cubicBezTo>
                    <a:pt x="454" y="544"/>
                    <a:pt x="507" y="513"/>
                    <a:pt x="545" y="430"/>
                  </a:cubicBezTo>
                  <a:cubicBezTo>
                    <a:pt x="583" y="347"/>
                    <a:pt x="582" y="0"/>
                    <a:pt x="635" y="68"/>
                  </a:cubicBezTo>
                  <a:cubicBezTo>
                    <a:pt x="688" y="136"/>
                    <a:pt x="791" y="736"/>
                    <a:pt x="862" y="839"/>
                  </a:cubicBezTo>
                  <a:cubicBezTo>
                    <a:pt x="933" y="942"/>
                    <a:pt x="1015" y="714"/>
                    <a:pt x="1061" y="684"/>
                  </a:cubicBezTo>
                  <a:cubicBezTo>
                    <a:pt x="1107" y="654"/>
                    <a:pt x="1121" y="664"/>
                    <a:pt x="1137" y="659"/>
                  </a:cubicBezTo>
                </a:path>
              </a:pathLst>
            </a:custGeom>
            <a:noFill/>
            <a:ln w="28575">
              <a:solidFill>
                <a:srgbClr val="92D050"/>
              </a:solidFill>
              <a:round/>
              <a:headEnd/>
              <a:tailEnd/>
            </a:ln>
            <a:effectLst/>
          </p:spPr>
          <p:txBody>
            <a:bodyPr/>
            <a:lstStyle/>
            <a:p>
              <a:pPr defTabSz="913943">
                <a:defRPr/>
              </a:pPr>
              <a:endParaRPr lang="de-DE" sz="1799" kern="0">
                <a:solidFill>
                  <a:sysClr val="windowText" lastClr="000000"/>
                </a:solidFill>
              </a:endParaRPr>
            </a:p>
          </p:txBody>
        </p:sp>
        <p:sp>
          <p:nvSpPr>
            <p:cNvPr id="37" name="Text Box 11"/>
            <p:cNvSpPr txBox="1">
              <a:spLocks noChangeArrowheads="1"/>
            </p:cNvSpPr>
            <p:nvPr/>
          </p:nvSpPr>
          <p:spPr bwMode="auto">
            <a:xfrm>
              <a:off x="442383" y="2043114"/>
              <a:ext cx="1213794" cy="307777"/>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RE-EVENT</a:t>
              </a:r>
              <a:endParaRPr lang="en-US" sz="1399" kern="0" dirty="0">
                <a:solidFill>
                  <a:srgbClr val="949EAA"/>
                </a:solidFill>
              </a:endParaRPr>
            </a:p>
          </p:txBody>
        </p:sp>
        <p:sp>
          <p:nvSpPr>
            <p:cNvPr id="38" name="Oval 19"/>
            <p:cNvSpPr>
              <a:spLocks noChangeArrowheads="1"/>
            </p:cNvSpPr>
            <p:nvPr/>
          </p:nvSpPr>
          <p:spPr bwMode="auto">
            <a:xfrm>
              <a:off x="547688" y="2540529"/>
              <a:ext cx="117475" cy="123825"/>
            </a:xfrm>
            <a:prstGeom prst="ellipse">
              <a:avLst/>
            </a:prstGeom>
            <a:noFill/>
            <a:ln w="28575">
              <a:solidFill>
                <a:srgbClr val="92D050"/>
              </a:solidFill>
              <a:round/>
              <a:headEnd/>
              <a:tailEnd/>
            </a:ln>
            <a:effectLst/>
          </p:spPr>
          <p:txBody>
            <a:bodyPr wrap="none" anchor="ctr"/>
            <a:lstStyle/>
            <a:p>
              <a:pPr defTabSz="913943">
                <a:defRPr/>
              </a:pPr>
              <a:endParaRPr lang="de-DE" sz="1799" kern="0">
                <a:solidFill>
                  <a:sysClr val="windowText" lastClr="000000"/>
                </a:solidFill>
              </a:endParaRPr>
            </a:p>
          </p:txBody>
        </p:sp>
        <p:sp>
          <p:nvSpPr>
            <p:cNvPr id="40" name="Oval 19"/>
            <p:cNvSpPr>
              <a:spLocks noChangeArrowheads="1"/>
            </p:cNvSpPr>
            <p:nvPr/>
          </p:nvSpPr>
          <p:spPr bwMode="auto">
            <a:xfrm>
              <a:off x="4405313" y="3378729"/>
              <a:ext cx="117475" cy="123825"/>
            </a:xfrm>
            <a:prstGeom prst="ellipse">
              <a:avLst/>
            </a:prstGeom>
            <a:noFill/>
            <a:ln w="28575">
              <a:solidFill>
                <a:srgbClr val="92D050"/>
              </a:solidFill>
              <a:round/>
              <a:headEnd/>
              <a:tailEnd/>
            </a:ln>
            <a:effectLst/>
          </p:spPr>
          <p:txBody>
            <a:bodyPr wrap="none" anchor="ctr"/>
            <a:lstStyle/>
            <a:p>
              <a:pPr defTabSz="913943">
                <a:defRPr/>
              </a:pPr>
              <a:endParaRPr lang="de-DE" sz="1799" kern="0">
                <a:solidFill>
                  <a:sysClr val="windowText" lastClr="000000"/>
                </a:solidFill>
              </a:endParaRPr>
            </a:p>
          </p:txBody>
        </p:sp>
        <p:sp>
          <p:nvSpPr>
            <p:cNvPr id="43" name="Pfeil nach links 42"/>
            <p:cNvSpPr/>
            <p:nvPr/>
          </p:nvSpPr>
          <p:spPr bwMode="auto">
            <a:xfrm rot="1098572">
              <a:off x="390525" y="3143251"/>
              <a:ext cx="2343150" cy="828675"/>
            </a:xfrm>
            <a:prstGeom prst="leftArrow">
              <a:avLst/>
            </a:prstGeom>
            <a:solidFill>
              <a:srgbClr val="00B05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spcBef>
                  <a:spcPct val="0"/>
                </a:spcBef>
                <a:buFont typeface="Wingdings" charset="0"/>
                <a:buNone/>
              </a:pPr>
              <a:r>
                <a:rPr lang="en-US" sz="1199" b="1" dirty="0"/>
                <a:t>Preventive change of system state</a:t>
              </a:r>
            </a:p>
          </p:txBody>
        </p:sp>
      </p:grpSp>
      <p:sp>
        <p:nvSpPr>
          <p:cNvPr id="45" name="Textfeld 44"/>
          <p:cNvSpPr txBox="1"/>
          <p:nvPr/>
        </p:nvSpPr>
        <p:spPr>
          <a:xfrm>
            <a:off x="7806202" y="1629713"/>
            <a:ext cx="4385798" cy="4674340"/>
          </a:xfrm>
          <a:prstGeom prst="rect">
            <a:avLst/>
          </a:prstGeom>
          <a:noFill/>
        </p:spPr>
        <p:txBody>
          <a:bodyPr wrap="square" lIns="0" tIns="0" rIns="0" bIns="0" rtlCol="0">
            <a:noAutofit/>
          </a:bodyPr>
          <a:lstStyle/>
          <a:p>
            <a:pPr>
              <a:lnSpc>
                <a:spcPct val="150000"/>
              </a:lnSpc>
            </a:pPr>
            <a:r>
              <a:rPr lang="en-US" sz="1999" dirty="0"/>
              <a:t>State of the art: Operation Philosophy</a:t>
            </a:r>
          </a:p>
          <a:p>
            <a:pPr marL="266567" indent="-266567">
              <a:lnSpc>
                <a:spcPct val="150000"/>
              </a:lnSpc>
              <a:buFont typeface="Arial" pitchFamily="34" charset="0"/>
              <a:buChar char="•"/>
            </a:pPr>
            <a:r>
              <a:rPr lang="en-US" sz="1799" dirty="0"/>
              <a:t>Change of schedule</a:t>
            </a:r>
          </a:p>
          <a:p>
            <a:pPr marL="266567" indent="-266567">
              <a:lnSpc>
                <a:spcPct val="150000"/>
              </a:lnSpc>
              <a:buFont typeface="Arial" pitchFamily="34" charset="0"/>
              <a:buChar char="•"/>
            </a:pPr>
            <a:r>
              <a:rPr lang="en-US" sz="1799" dirty="0"/>
              <a:t>Re-dispatch</a:t>
            </a:r>
          </a:p>
        </p:txBody>
      </p:sp>
      <p:sp>
        <p:nvSpPr>
          <p:cNvPr id="7" name="Fußzeilenplatzhalter 6">
            <a:extLst>
              <a:ext uri="{FF2B5EF4-FFF2-40B4-BE49-F238E27FC236}">
                <a16:creationId xmlns:a16="http://schemas.microsoft.com/office/drawing/2014/main" id="{C0D88993-F722-4E2B-9A15-BA6118765549}"/>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8" name="Foliennummernplatzhalter 7">
            <a:extLst>
              <a:ext uri="{FF2B5EF4-FFF2-40B4-BE49-F238E27FC236}">
                <a16:creationId xmlns:a16="http://schemas.microsoft.com/office/drawing/2014/main" id="{54C63F0A-D347-4DF0-8992-21D3472FB88C}"/>
              </a:ext>
            </a:extLst>
          </p:cNvPr>
          <p:cNvSpPr>
            <a:spLocks noGrp="1"/>
          </p:cNvSpPr>
          <p:nvPr>
            <p:ph type="sldNum" sz="quarter" idx="11"/>
          </p:nvPr>
        </p:nvSpPr>
        <p:spPr/>
        <p:txBody>
          <a:bodyPr/>
          <a:lstStyle/>
          <a:p>
            <a:r>
              <a:rPr lang="en-US"/>
              <a:t>Page </a:t>
            </a:r>
            <a:fld id="{15EBE321-CBB1-4E91-BD14-37C8D44326FB}" type="slidenum">
              <a:rPr lang="en-US" smtClean="0"/>
              <a:pPr/>
              <a:t>17</a:t>
            </a:fld>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at Actions are Possible?</a:t>
            </a:r>
            <a:br>
              <a:rPr lang="en-US" dirty="0"/>
            </a:br>
            <a:r>
              <a:rPr lang="en-US" dirty="0"/>
              <a:t>Change of limits where possible</a:t>
            </a:r>
          </a:p>
        </p:txBody>
      </p:sp>
      <p:grpSp>
        <p:nvGrpSpPr>
          <p:cNvPr id="6" name="Group 5">
            <a:extLst>
              <a:ext uri="{FF2B5EF4-FFF2-40B4-BE49-F238E27FC236}">
                <a16:creationId xmlns:a16="http://schemas.microsoft.com/office/drawing/2014/main" id="{F8672335-D854-4B9B-8FC5-906AAD36B1A6}"/>
              </a:ext>
            </a:extLst>
          </p:cNvPr>
          <p:cNvGrpSpPr/>
          <p:nvPr/>
        </p:nvGrpSpPr>
        <p:grpSpPr>
          <a:xfrm>
            <a:off x="414756" y="1627473"/>
            <a:ext cx="7368830" cy="4689063"/>
            <a:chOff x="414972" y="1626534"/>
            <a:chExt cx="7372668" cy="4691505"/>
          </a:xfrm>
        </p:grpSpPr>
        <p:sp>
          <p:nvSpPr>
            <p:cNvPr id="24" name="Rectangle 4"/>
            <p:cNvSpPr>
              <a:spLocks noChangeArrowheads="1"/>
            </p:cNvSpPr>
            <p:nvPr/>
          </p:nvSpPr>
          <p:spPr bwMode="auto">
            <a:xfrm>
              <a:off x="414972" y="1626534"/>
              <a:ext cx="7372668" cy="4691505"/>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wrap="none" anchor="ctr"/>
            <a:lstStyle/>
            <a:p>
              <a:pPr defTabSz="913943">
                <a:defRPr/>
              </a:pPr>
              <a:endParaRPr lang="de-DE" sz="1799" kern="0" dirty="0">
                <a:solidFill>
                  <a:sysClr val="windowText" lastClr="000000"/>
                </a:solidFill>
              </a:endParaRPr>
            </a:p>
          </p:txBody>
        </p:sp>
        <p:sp>
          <p:nvSpPr>
            <p:cNvPr id="25" name="Freeform 5"/>
            <p:cNvSpPr>
              <a:spLocks/>
            </p:cNvSpPr>
            <p:nvPr/>
          </p:nvSpPr>
          <p:spPr bwMode="auto">
            <a:xfrm rot="401615">
              <a:off x="1489410" y="2320632"/>
              <a:ext cx="3809161" cy="1495425"/>
            </a:xfrm>
            <a:custGeom>
              <a:avLst/>
              <a:gdLst/>
              <a:ahLst/>
              <a:cxnLst>
                <a:cxn ang="0">
                  <a:pos x="0" y="385"/>
                </a:cxn>
                <a:cxn ang="0">
                  <a:pos x="182" y="249"/>
                </a:cxn>
                <a:cxn ang="0">
                  <a:pos x="273" y="567"/>
                </a:cxn>
                <a:cxn ang="0">
                  <a:pos x="409" y="567"/>
                </a:cxn>
                <a:cxn ang="0">
                  <a:pos x="545" y="430"/>
                </a:cxn>
                <a:cxn ang="0">
                  <a:pos x="635" y="68"/>
                </a:cxn>
                <a:cxn ang="0">
                  <a:pos x="862" y="839"/>
                </a:cxn>
                <a:cxn ang="0">
                  <a:pos x="1061" y="684"/>
                </a:cxn>
                <a:cxn ang="0">
                  <a:pos x="1137" y="659"/>
                </a:cxn>
              </a:cxnLst>
              <a:rect l="0" t="0" r="r" b="b"/>
              <a:pathLst>
                <a:path w="1137" h="942">
                  <a:moveTo>
                    <a:pt x="0" y="385"/>
                  </a:moveTo>
                  <a:cubicBezTo>
                    <a:pt x="68" y="302"/>
                    <a:pt x="136" y="219"/>
                    <a:pt x="182" y="249"/>
                  </a:cubicBezTo>
                  <a:cubicBezTo>
                    <a:pt x="228" y="279"/>
                    <a:pt x="235" y="514"/>
                    <a:pt x="273" y="567"/>
                  </a:cubicBezTo>
                  <a:cubicBezTo>
                    <a:pt x="311" y="620"/>
                    <a:pt x="364" y="590"/>
                    <a:pt x="409" y="567"/>
                  </a:cubicBezTo>
                  <a:cubicBezTo>
                    <a:pt x="454" y="544"/>
                    <a:pt x="507" y="513"/>
                    <a:pt x="545" y="430"/>
                  </a:cubicBezTo>
                  <a:cubicBezTo>
                    <a:pt x="583" y="347"/>
                    <a:pt x="582" y="0"/>
                    <a:pt x="635" y="68"/>
                  </a:cubicBezTo>
                  <a:cubicBezTo>
                    <a:pt x="688" y="136"/>
                    <a:pt x="791" y="736"/>
                    <a:pt x="862" y="839"/>
                  </a:cubicBezTo>
                  <a:cubicBezTo>
                    <a:pt x="933" y="942"/>
                    <a:pt x="1015" y="714"/>
                    <a:pt x="1061" y="684"/>
                  </a:cubicBezTo>
                  <a:cubicBezTo>
                    <a:pt x="1107" y="654"/>
                    <a:pt x="1121" y="664"/>
                    <a:pt x="1137" y="659"/>
                  </a:cubicBezTo>
                </a:path>
              </a:pathLst>
            </a:custGeom>
            <a:noFill/>
            <a:ln w="9525">
              <a:solidFill>
                <a:srgbClr val="000000"/>
              </a:solidFill>
              <a:round/>
              <a:headEnd/>
              <a:tailEnd/>
            </a:ln>
            <a:effectLst/>
          </p:spPr>
          <p:txBody>
            <a:bodyPr/>
            <a:lstStyle/>
            <a:p>
              <a:pPr defTabSz="913943">
                <a:defRPr/>
              </a:pPr>
              <a:endParaRPr lang="de-DE" sz="1799" kern="0">
                <a:solidFill>
                  <a:sysClr val="windowText" lastClr="000000"/>
                </a:solidFill>
              </a:endParaRPr>
            </a:p>
          </p:txBody>
        </p:sp>
        <p:sp>
          <p:nvSpPr>
            <p:cNvPr id="26" name="Freeform 6"/>
            <p:cNvSpPr>
              <a:spLocks/>
            </p:cNvSpPr>
            <p:nvPr/>
          </p:nvSpPr>
          <p:spPr bwMode="auto">
            <a:xfrm>
              <a:off x="1168399" y="1782764"/>
              <a:ext cx="5672667" cy="588962"/>
            </a:xfrm>
            <a:custGeom>
              <a:avLst/>
              <a:gdLst/>
              <a:ahLst/>
              <a:cxnLst>
                <a:cxn ang="0">
                  <a:pos x="0" y="0"/>
                </a:cxn>
                <a:cxn ang="0">
                  <a:pos x="635" y="454"/>
                </a:cxn>
                <a:cxn ang="0">
                  <a:pos x="1633" y="499"/>
                </a:cxn>
                <a:cxn ang="0">
                  <a:pos x="1815" y="499"/>
                </a:cxn>
              </a:cxnLst>
              <a:rect l="0" t="0" r="r" b="b"/>
              <a:pathLst>
                <a:path w="1830" h="537">
                  <a:moveTo>
                    <a:pt x="0" y="0"/>
                  </a:moveTo>
                  <a:cubicBezTo>
                    <a:pt x="181" y="185"/>
                    <a:pt x="363" y="371"/>
                    <a:pt x="635" y="454"/>
                  </a:cubicBezTo>
                  <a:cubicBezTo>
                    <a:pt x="907" y="537"/>
                    <a:pt x="1436" y="491"/>
                    <a:pt x="1633" y="499"/>
                  </a:cubicBezTo>
                  <a:cubicBezTo>
                    <a:pt x="1830" y="507"/>
                    <a:pt x="1822" y="503"/>
                    <a:pt x="1815" y="499"/>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sp>
          <p:nvSpPr>
            <p:cNvPr id="27" name="Freeform 7"/>
            <p:cNvSpPr>
              <a:spLocks/>
            </p:cNvSpPr>
            <p:nvPr/>
          </p:nvSpPr>
          <p:spPr bwMode="auto">
            <a:xfrm>
              <a:off x="900113" y="2935287"/>
              <a:ext cx="5449887" cy="3219979"/>
            </a:xfrm>
            <a:custGeom>
              <a:avLst/>
              <a:gdLst/>
              <a:ahLst/>
              <a:cxnLst>
                <a:cxn ang="0">
                  <a:pos x="0" y="0"/>
                </a:cxn>
                <a:cxn ang="0">
                  <a:pos x="861" y="181"/>
                </a:cxn>
                <a:cxn ang="0">
                  <a:pos x="1769" y="635"/>
                </a:cxn>
              </a:cxnLst>
              <a:rect l="0" t="0" r="r" b="b"/>
              <a:pathLst>
                <a:path w="1769" h="635">
                  <a:moveTo>
                    <a:pt x="0" y="0"/>
                  </a:moveTo>
                  <a:cubicBezTo>
                    <a:pt x="283" y="37"/>
                    <a:pt x="566" y="75"/>
                    <a:pt x="861" y="181"/>
                  </a:cubicBezTo>
                  <a:cubicBezTo>
                    <a:pt x="1156" y="287"/>
                    <a:pt x="1462" y="461"/>
                    <a:pt x="1769" y="635"/>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sp>
          <p:nvSpPr>
            <p:cNvPr id="29" name="Text Box 9"/>
            <p:cNvSpPr txBox="1">
              <a:spLocks noChangeArrowheads="1"/>
            </p:cNvSpPr>
            <p:nvPr/>
          </p:nvSpPr>
          <p:spPr bwMode="auto">
            <a:xfrm>
              <a:off x="5402263" y="1962680"/>
              <a:ext cx="1322798" cy="338554"/>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sp>
          <p:nvSpPr>
            <p:cNvPr id="30" name="Text Box 10"/>
            <p:cNvSpPr txBox="1">
              <a:spLocks noChangeArrowheads="1"/>
            </p:cNvSpPr>
            <p:nvPr/>
          </p:nvSpPr>
          <p:spPr bwMode="auto">
            <a:xfrm rot="2553293">
              <a:off x="5067623" y="5622715"/>
              <a:ext cx="1322798" cy="338554"/>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sp>
          <p:nvSpPr>
            <p:cNvPr id="31" name="Text Box 11"/>
            <p:cNvSpPr txBox="1">
              <a:spLocks noChangeArrowheads="1"/>
            </p:cNvSpPr>
            <p:nvPr/>
          </p:nvSpPr>
          <p:spPr bwMode="auto">
            <a:xfrm>
              <a:off x="521758" y="2338389"/>
              <a:ext cx="1213794" cy="307777"/>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RE-EVENT</a:t>
              </a:r>
              <a:endParaRPr lang="en-US" sz="1399" kern="0" dirty="0">
                <a:solidFill>
                  <a:srgbClr val="949EAA"/>
                </a:solidFill>
              </a:endParaRPr>
            </a:p>
          </p:txBody>
        </p:sp>
        <p:sp>
          <p:nvSpPr>
            <p:cNvPr id="39" name="Oval 19"/>
            <p:cNvSpPr>
              <a:spLocks noChangeArrowheads="1"/>
            </p:cNvSpPr>
            <p:nvPr/>
          </p:nvSpPr>
          <p:spPr bwMode="auto">
            <a:xfrm>
              <a:off x="1385888" y="2664354"/>
              <a:ext cx="117475" cy="123825"/>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nvGrpSpPr>
            <p:cNvPr id="3" name="Group 20"/>
            <p:cNvGrpSpPr>
              <a:grpSpLocks/>
            </p:cNvGrpSpPr>
            <p:nvPr/>
          </p:nvGrpSpPr>
          <p:grpSpPr bwMode="auto">
            <a:xfrm>
              <a:off x="4227854" y="2477032"/>
              <a:ext cx="1332309" cy="1166856"/>
              <a:chOff x="1186" y="659"/>
              <a:chExt cx="1119" cy="820"/>
            </a:xfrm>
          </p:grpSpPr>
          <p:sp>
            <p:nvSpPr>
              <p:cNvPr id="41" name="Text Box 21"/>
              <p:cNvSpPr txBox="1">
                <a:spLocks noChangeArrowheads="1"/>
              </p:cNvSpPr>
              <p:nvPr/>
            </p:nvSpPr>
            <p:spPr bwMode="auto">
              <a:xfrm>
                <a:off x="1186" y="659"/>
                <a:ext cx="1119" cy="216"/>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OST-EVENT</a:t>
                </a:r>
                <a:endParaRPr lang="en-US" sz="1399" kern="0" dirty="0">
                  <a:solidFill>
                    <a:srgbClr val="949EAA"/>
                  </a:solidFill>
                </a:endParaRPr>
              </a:p>
            </p:txBody>
          </p:sp>
          <p:sp>
            <p:nvSpPr>
              <p:cNvPr id="42" name="Oval 22"/>
              <p:cNvSpPr>
                <a:spLocks noChangeArrowheads="1"/>
              </p:cNvSpPr>
              <p:nvPr/>
            </p:nvSpPr>
            <p:spPr bwMode="auto">
              <a:xfrm>
                <a:off x="1977" y="1389"/>
                <a:ext cx="91" cy="90"/>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grpSp>
          <p:nvGrpSpPr>
            <p:cNvPr id="4" name="Gruppieren 48"/>
            <p:cNvGrpSpPr/>
            <p:nvPr/>
          </p:nvGrpSpPr>
          <p:grpSpPr>
            <a:xfrm>
              <a:off x="5143805" y="2373615"/>
              <a:ext cx="1580521" cy="2721096"/>
              <a:chOff x="7624763" y="2750987"/>
              <a:chExt cx="1580521" cy="2721096"/>
            </a:xfrm>
          </p:grpSpPr>
          <p:grpSp>
            <p:nvGrpSpPr>
              <p:cNvPr id="5" name="Gruppieren 46"/>
              <p:cNvGrpSpPr/>
              <p:nvPr/>
            </p:nvGrpSpPr>
            <p:grpSpPr>
              <a:xfrm>
                <a:off x="7624763" y="2750987"/>
                <a:ext cx="1580521" cy="2721096"/>
                <a:chOff x="7681913" y="2820837"/>
                <a:chExt cx="1580521" cy="2721096"/>
              </a:xfrm>
            </p:grpSpPr>
            <p:sp>
              <p:nvSpPr>
                <p:cNvPr id="167940" name="Rectangle 4" descr="Diagonal weit nach oben"/>
                <p:cNvSpPr>
                  <a:spLocks noChangeArrowheads="1"/>
                </p:cNvSpPr>
                <p:nvPr/>
              </p:nvSpPr>
              <p:spPr bwMode="auto">
                <a:xfrm rot="16822600">
                  <a:off x="7271709" y="3551208"/>
                  <a:ext cx="2628900" cy="1352550"/>
                </a:xfrm>
                <a:prstGeom prst="rect">
                  <a:avLst/>
                </a:prstGeom>
                <a:pattFill prst="wdUpDiag">
                  <a:fgClr>
                    <a:srgbClr val="000000"/>
                  </a:fgClr>
                  <a:bgClr>
                    <a:srgbClr val="D8D8D8"/>
                  </a:bgClr>
                </a:pattFill>
                <a:ln w="9525">
                  <a:noFill/>
                  <a:miter lim="800000"/>
                  <a:headEnd/>
                  <a:tailEnd/>
                </a:ln>
              </p:spPr>
              <p:txBody>
                <a:bodyPr vert="horz" wrap="square" lIns="91392" tIns="45696" rIns="91392" bIns="45696" numCol="1" anchor="t" anchorCtr="0" compatLnSpc="1">
                  <a:prstTxWarp prst="textNoShape">
                    <a:avLst/>
                  </a:prstTxWarp>
                </a:bodyPr>
                <a:lstStyle/>
                <a:p>
                  <a:endParaRPr lang="de-DE" sz="1799" dirty="0"/>
                </a:p>
              </p:txBody>
            </p:sp>
            <p:cxnSp>
              <p:nvCxnSpPr>
                <p:cNvPr id="36" name="Gerade Verbindung 35"/>
                <p:cNvCxnSpPr/>
                <p:nvPr/>
              </p:nvCxnSpPr>
              <p:spPr bwMode="auto">
                <a:xfrm flipH="1">
                  <a:off x="7681913" y="2820837"/>
                  <a:ext cx="478677" cy="2584601"/>
                </a:xfrm>
                <a:prstGeom prst="line">
                  <a:avLst/>
                </a:prstGeom>
                <a:solidFill>
                  <a:schemeClr val="tx2"/>
                </a:solid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48" name="Textfeld 47"/>
              <p:cNvSpPr txBox="1"/>
              <p:nvPr/>
            </p:nvSpPr>
            <p:spPr>
              <a:xfrm>
                <a:off x="8126068" y="3886200"/>
                <a:ext cx="751809" cy="492443"/>
              </a:xfrm>
              <a:prstGeom prst="rect">
                <a:avLst/>
              </a:prstGeom>
              <a:solidFill>
                <a:schemeClr val="bg1">
                  <a:lumMod val="85000"/>
                </a:schemeClr>
              </a:solidFill>
            </p:spPr>
            <p:txBody>
              <a:bodyPr wrap="none" lIns="0" tIns="0" rIns="0" bIns="0" rtlCol="0">
                <a:spAutoFit/>
              </a:bodyPr>
              <a:lstStyle/>
              <a:p>
                <a:pPr algn="ctr"/>
                <a:r>
                  <a:rPr lang="en-US" sz="1599" dirty="0"/>
                  <a:t>Thermal</a:t>
                </a:r>
              </a:p>
              <a:p>
                <a:pPr algn="ctr"/>
                <a:r>
                  <a:rPr lang="en-US" sz="1599" dirty="0"/>
                  <a:t>limit</a:t>
                </a:r>
              </a:p>
            </p:txBody>
          </p:sp>
        </p:grpSp>
        <p:sp>
          <p:nvSpPr>
            <p:cNvPr id="34" name="Pfeil nach rechts 33"/>
            <p:cNvSpPr/>
            <p:nvPr/>
          </p:nvSpPr>
          <p:spPr bwMode="auto">
            <a:xfrm rot="662680">
              <a:off x="5014287" y="2791782"/>
              <a:ext cx="2653763" cy="1029366"/>
            </a:xfrm>
            <a:prstGeom prst="rightArrow">
              <a:avLst/>
            </a:prstGeom>
            <a:solidFill>
              <a:srgbClr val="00B05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spcBef>
                  <a:spcPct val="0"/>
                </a:spcBef>
                <a:buFont typeface="Wingdings" charset="0"/>
                <a:buNone/>
              </a:pPr>
              <a:r>
                <a:rPr lang="en-US" sz="1199" b="1" dirty="0"/>
                <a:t>Change of limits (e.g. thermal line monitoring,…)</a:t>
              </a:r>
            </a:p>
          </p:txBody>
        </p:sp>
      </p:grpSp>
      <p:sp>
        <p:nvSpPr>
          <p:cNvPr id="22" name="Textfeld 21"/>
          <p:cNvSpPr txBox="1"/>
          <p:nvPr/>
        </p:nvSpPr>
        <p:spPr>
          <a:xfrm>
            <a:off x="7920675" y="1629713"/>
            <a:ext cx="4271325" cy="4674340"/>
          </a:xfrm>
          <a:prstGeom prst="rect">
            <a:avLst/>
          </a:prstGeom>
          <a:noFill/>
        </p:spPr>
        <p:txBody>
          <a:bodyPr wrap="square" lIns="0" tIns="0" rIns="0" bIns="0" rtlCol="0">
            <a:noAutofit/>
          </a:bodyPr>
          <a:lstStyle/>
          <a:p>
            <a:pPr>
              <a:lnSpc>
                <a:spcPct val="150000"/>
              </a:lnSpc>
            </a:pPr>
            <a:r>
              <a:rPr lang="en-US" sz="1999" dirty="0"/>
              <a:t>ONLY if Stability is not in danger</a:t>
            </a:r>
          </a:p>
          <a:p>
            <a:pPr marL="266567" indent="-266567">
              <a:lnSpc>
                <a:spcPct val="150000"/>
              </a:lnSpc>
              <a:buFont typeface="Arial" pitchFamily="34" charset="0"/>
              <a:buChar char="•"/>
            </a:pPr>
            <a:r>
              <a:rPr lang="en-US" sz="1799" dirty="0"/>
              <a:t>Dynamic line rating</a:t>
            </a:r>
            <a:endParaRPr lang="en-US" sz="1799" b="1" dirty="0">
              <a:solidFill>
                <a:schemeClr val="accent6">
                  <a:lumMod val="60000"/>
                  <a:lumOff val="40000"/>
                </a:schemeClr>
              </a:solidFill>
            </a:endParaRPr>
          </a:p>
          <a:p>
            <a:pPr marL="266567" indent="-266567">
              <a:lnSpc>
                <a:spcPct val="150000"/>
              </a:lnSpc>
              <a:buFont typeface="Arial" pitchFamily="34" charset="0"/>
              <a:buChar char="•"/>
            </a:pPr>
            <a:r>
              <a:rPr lang="en-US" sz="1799" dirty="0"/>
              <a:t>Adaptive Protection</a:t>
            </a:r>
          </a:p>
          <a:p>
            <a:pPr marL="266567" indent="-266567">
              <a:lnSpc>
                <a:spcPct val="150000"/>
              </a:lnSpc>
              <a:buFont typeface="Arial" pitchFamily="34" charset="0"/>
              <a:buChar char="•"/>
            </a:pPr>
            <a:endParaRPr lang="de-DE" sz="2399" dirty="0"/>
          </a:p>
        </p:txBody>
      </p:sp>
      <p:sp>
        <p:nvSpPr>
          <p:cNvPr id="7" name="Fußzeilenplatzhalter 6">
            <a:extLst>
              <a:ext uri="{FF2B5EF4-FFF2-40B4-BE49-F238E27FC236}">
                <a16:creationId xmlns:a16="http://schemas.microsoft.com/office/drawing/2014/main" id="{AE317B4A-9AF4-4450-997F-B0736C464DAB}"/>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8" name="Foliennummernplatzhalter 7">
            <a:extLst>
              <a:ext uri="{FF2B5EF4-FFF2-40B4-BE49-F238E27FC236}">
                <a16:creationId xmlns:a16="http://schemas.microsoft.com/office/drawing/2014/main" id="{E3255B86-D4D9-41E4-BDB8-C9B3EFCD0654}"/>
              </a:ext>
            </a:extLst>
          </p:cNvPr>
          <p:cNvSpPr>
            <a:spLocks noGrp="1"/>
          </p:cNvSpPr>
          <p:nvPr>
            <p:ph type="sldNum" sz="quarter" idx="11"/>
          </p:nvPr>
        </p:nvSpPr>
        <p:spPr/>
        <p:txBody>
          <a:bodyPr/>
          <a:lstStyle/>
          <a:p>
            <a:r>
              <a:rPr lang="en-US"/>
              <a:t>Page </a:t>
            </a:r>
            <a:fld id="{15EBE321-CBB1-4E91-BD14-37C8D44326FB}" type="slidenum">
              <a:rPr lang="en-US" smtClean="0"/>
              <a:pPr/>
              <a:t>18</a:t>
            </a:fld>
            <a:endParaRPr lang="en-US" dirty="0"/>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What Actions are possible?</a:t>
            </a:r>
            <a:br>
              <a:rPr lang="en-US" dirty="0"/>
            </a:br>
            <a:r>
              <a:rPr lang="en-US" dirty="0"/>
              <a:t>Corrective actions (slow)</a:t>
            </a:r>
          </a:p>
        </p:txBody>
      </p:sp>
      <p:grpSp>
        <p:nvGrpSpPr>
          <p:cNvPr id="6" name="Group 5">
            <a:extLst>
              <a:ext uri="{FF2B5EF4-FFF2-40B4-BE49-F238E27FC236}">
                <a16:creationId xmlns:a16="http://schemas.microsoft.com/office/drawing/2014/main" id="{D7EAFFF8-0BC5-41E9-834C-6F6DE30B19F9}"/>
              </a:ext>
            </a:extLst>
          </p:cNvPr>
          <p:cNvGrpSpPr/>
          <p:nvPr/>
        </p:nvGrpSpPr>
        <p:grpSpPr>
          <a:xfrm>
            <a:off x="431484" y="1627473"/>
            <a:ext cx="7368830" cy="4689063"/>
            <a:chOff x="431709" y="1626534"/>
            <a:chExt cx="7372668" cy="4691505"/>
          </a:xfrm>
        </p:grpSpPr>
        <p:sp>
          <p:nvSpPr>
            <p:cNvPr id="33" name="Rectangle 4"/>
            <p:cNvSpPr>
              <a:spLocks noChangeArrowheads="1"/>
            </p:cNvSpPr>
            <p:nvPr/>
          </p:nvSpPr>
          <p:spPr bwMode="auto">
            <a:xfrm>
              <a:off x="431709" y="1626534"/>
              <a:ext cx="7372668" cy="4691505"/>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wrap="none" anchor="ctr"/>
            <a:lstStyle/>
            <a:p>
              <a:pPr defTabSz="913943">
                <a:defRPr/>
              </a:pPr>
              <a:endParaRPr lang="de-DE" sz="1799" kern="0" dirty="0">
                <a:solidFill>
                  <a:sysClr val="windowText" lastClr="000000"/>
                </a:solidFill>
              </a:endParaRPr>
            </a:p>
          </p:txBody>
        </p:sp>
        <p:sp>
          <p:nvSpPr>
            <p:cNvPr id="26" name="Freeform 6"/>
            <p:cNvSpPr>
              <a:spLocks/>
            </p:cNvSpPr>
            <p:nvPr/>
          </p:nvSpPr>
          <p:spPr bwMode="auto">
            <a:xfrm>
              <a:off x="1168400" y="1782764"/>
              <a:ext cx="4930776" cy="588962"/>
            </a:xfrm>
            <a:custGeom>
              <a:avLst/>
              <a:gdLst/>
              <a:ahLst/>
              <a:cxnLst>
                <a:cxn ang="0">
                  <a:pos x="0" y="0"/>
                </a:cxn>
                <a:cxn ang="0">
                  <a:pos x="635" y="454"/>
                </a:cxn>
                <a:cxn ang="0">
                  <a:pos x="1633" y="499"/>
                </a:cxn>
                <a:cxn ang="0">
                  <a:pos x="1815" y="499"/>
                </a:cxn>
              </a:cxnLst>
              <a:rect l="0" t="0" r="r" b="b"/>
              <a:pathLst>
                <a:path w="1830" h="537">
                  <a:moveTo>
                    <a:pt x="0" y="0"/>
                  </a:moveTo>
                  <a:cubicBezTo>
                    <a:pt x="181" y="185"/>
                    <a:pt x="363" y="371"/>
                    <a:pt x="635" y="454"/>
                  </a:cubicBezTo>
                  <a:cubicBezTo>
                    <a:pt x="907" y="537"/>
                    <a:pt x="1436" y="491"/>
                    <a:pt x="1633" y="499"/>
                  </a:cubicBezTo>
                  <a:cubicBezTo>
                    <a:pt x="1830" y="507"/>
                    <a:pt x="1822" y="503"/>
                    <a:pt x="1815" y="499"/>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sp>
          <p:nvSpPr>
            <p:cNvPr id="27" name="Freeform 7"/>
            <p:cNvSpPr>
              <a:spLocks/>
            </p:cNvSpPr>
            <p:nvPr/>
          </p:nvSpPr>
          <p:spPr bwMode="auto">
            <a:xfrm>
              <a:off x="900113" y="2935287"/>
              <a:ext cx="4562841" cy="2684312"/>
            </a:xfrm>
            <a:custGeom>
              <a:avLst/>
              <a:gdLst/>
              <a:ahLst/>
              <a:cxnLst>
                <a:cxn ang="0">
                  <a:pos x="0" y="0"/>
                </a:cxn>
                <a:cxn ang="0">
                  <a:pos x="861" y="181"/>
                </a:cxn>
                <a:cxn ang="0">
                  <a:pos x="1769" y="635"/>
                </a:cxn>
              </a:cxnLst>
              <a:rect l="0" t="0" r="r" b="b"/>
              <a:pathLst>
                <a:path w="1769" h="635">
                  <a:moveTo>
                    <a:pt x="0" y="0"/>
                  </a:moveTo>
                  <a:cubicBezTo>
                    <a:pt x="283" y="37"/>
                    <a:pt x="566" y="75"/>
                    <a:pt x="861" y="181"/>
                  </a:cubicBezTo>
                  <a:cubicBezTo>
                    <a:pt x="1156" y="287"/>
                    <a:pt x="1462" y="461"/>
                    <a:pt x="1769" y="635"/>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sp>
          <p:nvSpPr>
            <p:cNvPr id="29" name="Text Box 9"/>
            <p:cNvSpPr txBox="1">
              <a:spLocks noChangeArrowheads="1"/>
            </p:cNvSpPr>
            <p:nvPr/>
          </p:nvSpPr>
          <p:spPr bwMode="auto">
            <a:xfrm>
              <a:off x="4712480" y="2012068"/>
              <a:ext cx="1322798" cy="338554"/>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sp>
          <p:nvSpPr>
            <p:cNvPr id="30" name="Text Box 10"/>
            <p:cNvSpPr txBox="1">
              <a:spLocks noChangeArrowheads="1"/>
            </p:cNvSpPr>
            <p:nvPr/>
          </p:nvSpPr>
          <p:spPr bwMode="auto">
            <a:xfrm rot="2454034">
              <a:off x="3456644" y="4450643"/>
              <a:ext cx="1322798" cy="338554"/>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sp>
          <p:nvSpPr>
            <p:cNvPr id="39" name="Oval 19"/>
            <p:cNvSpPr>
              <a:spLocks noChangeArrowheads="1"/>
            </p:cNvSpPr>
            <p:nvPr/>
          </p:nvSpPr>
          <p:spPr bwMode="auto">
            <a:xfrm>
              <a:off x="1376363" y="2664354"/>
              <a:ext cx="117475" cy="123825"/>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nvGrpSpPr>
            <p:cNvPr id="3" name="Gruppieren 48"/>
            <p:cNvGrpSpPr/>
            <p:nvPr/>
          </p:nvGrpSpPr>
          <p:grpSpPr>
            <a:xfrm>
              <a:off x="4624388" y="2703362"/>
              <a:ext cx="1580521" cy="2721096"/>
              <a:chOff x="7624763" y="2750987"/>
              <a:chExt cx="1580521" cy="2721096"/>
            </a:xfrm>
          </p:grpSpPr>
          <p:grpSp>
            <p:nvGrpSpPr>
              <p:cNvPr id="4" name="Gruppieren 46"/>
              <p:cNvGrpSpPr/>
              <p:nvPr/>
            </p:nvGrpSpPr>
            <p:grpSpPr>
              <a:xfrm>
                <a:off x="7624763" y="2750987"/>
                <a:ext cx="1580521" cy="2721096"/>
                <a:chOff x="7681913" y="2820837"/>
                <a:chExt cx="1580521" cy="2721096"/>
              </a:xfrm>
            </p:grpSpPr>
            <p:sp>
              <p:nvSpPr>
                <p:cNvPr id="167940" name="Rectangle 4" descr="Diagonal weit nach oben"/>
                <p:cNvSpPr>
                  <a:spLocks noChangeArrowheads="1"/>
                </p:cNvSpPr>
                <p:nvPr/>
              </p:nvSpPr>
              <p:spPr bwMode="auto">
                <a:xfrm rot="16822600">
                  <a:off x="7271709" y="3551208"/>
                  <a:ext cx="2628900" cy="1352550"/>
                </a:xfrm>
                <a:prstGeom prst="rect">
                  <a:avLst/>
                </a:prstGeom>
                <a:pattFill prst="wdUpDiag">
                  <a:fgClr>
                    <a:srgbClr val="000000"/>
                  </a:fgClr>
                  <a:bgClr>
                    <a:srgbClr val="D8D8D8"/>
                  </a:bgClr>
                </a:pattFill>
                <a:ln w="9525">
                  <a:noFill/>
                  <a:miter lim="800000"/>
                  <a:headEnd/>
                  <a:tailEnd/>
                </a:ln>
              </p:spPr>
              <p:txBody>
                <a:bodyPr vert="horz" wrap="square" lIns="91392" tIns="45696" rIns="91392" bIns="45696" numCol="1" anchor="t" anchorCtr="0" compatLnSpc="1">
                  <a:prstTxWarp prst="textNoShape">
                    <a:avLst/>
                  </a:prstTxWarp>
                </a:bodyPr>
                <a:lstStyle/>
                <a:p>
                  <a:endParaRPr lang="de-DE" sz="1799" dirty="0"/>
                </a:p>
              </p:txBody>
            </p:sp>
            <p:cxnSp>
              <p:nvCxnSpPr>
                <p:cNvPr id="36" name="Gerade Verbindung 35"/>
                <p:cNvCxnSpPr/>
                <p:nvPr/>
              </p:nvCxnSpPr>
              <p:spPr bwMode="auto">
                <a:xfrm flipH="1">
                  <a:off x="7681913" y="2820837"/>
                  <a:ext cx="478677" cy="2584601"/>
                </a:xfrm>
                <a:prstGeom prst="line">
                  <a:avLst/>
                </a:prstGeom>
                <a:solidFill>
                  <a:schemeClr val="tx2"/>
                </a:solid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48" name="Textfeld 47"/>
              <p:cNvSpPr txBox="1"/>
              <p:nvPr/>
            </p:nvSpPr>
            <p:spPr>
              <a:xfrm>
                <a:off x="8126068" y="3886200"/>
                <a:ext cx="751809" cy="492443"/>
              </a:xfrm>
              <a:prstGeom prst="rect">
                <a:avLst/>
              </a:prstGeom>
              <a:solidFill>
                <a:schemeClr val="bg1">
                  <a:lumMod val="85000"/>
                </a:schemeClr>
              </a:solidFill>
            </p:spPr>
            <p:txBody>
              <a:bodyPr wrap="none" lIns="0" tIns="0" rIns="0" bIns="0" rtlCol="0">
                <a:spAutoFit/>
              </a:bodyPr>
              <a:lstStyle/>
              <a:p>
                <a:pPr algn="ctr"/>
                <a:r>
                  <a:rPr lang="en-US" sz="1599" dirty="0"/>
                  <a:t>Thermal</a:t>
                </a:r>
              </a:p>
              <a:p>
                <a:pPr algn="ctr"/>
                <a:r>
                  <a:rPr lang="en-US" sz="1599" dirty="0"/>
                  <a:t>limit</a:t>
                </a:r>
              </a:p>
            </p:txBody>
          </p:sp>
        </p:grpSp>
        <p:grpSp>
          <p:nvGrpSpPr>
            <p:cNvPr id="5" name="Group 20"/>
            <p:cNvGrpSpPr>
              <a:grpSpLocks/>
            </p:cNvGrpSpPr>
            <p:nvPr/>
          </p:nvGrpSpPr>
          <p:grpSpPr bwMode="auto">
            <a:xfrm>
              <a:off x="3611696" y="3541904"/>
              <a:ext cx="1716881" cy="517970"/>
              <a:chOff x="626" y="1389"/>
              <a:chExt cx="1442" cy="364"/>
            </a:xfrm>
          </p:grpSpPr>
          <p:sp>
            <p:nvSpPr>
              <p:cNvPr id="41" name="Text Box 21"/>
              <p:cNvSpPr txBox="1">
                <a:spLocks noChangeArrowheads="1"/>
              </p:cNvSpPr>
              <p:nvPr/>
            </p:nvSpPr>
            <p:spPr bwMode="auto">
              <a:xfrm>
                <a:off x="626" y="1537"/>
                <a:ext cx="1119" cy="216"/>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OST-EVENT</a:t>
                </a:r>
                <a:endParaRPr lang="en-US" sz="1399" kern="0" dirty="0">
                  <a:solidFill>
                    <a:srgbClr val="949EAA"/>
                  </a:solidFill>
                </a:endParaRPr>
              </a:p>
            </p:txBody>
          </p:sp>
          <p:sp>
            <p:nvSpPr>
              <p:cNvPr id="42" name="Oval 22"/>
              <p:cNvSpPr>
                <a:spLocks noChangeArrowheads="1"/>
              </p:cNvSpPr>
              <p:nvPr/>
            </p:nvSpPr>
            <p:spPr bwMode="auto">
              <a:xfrm>
                <a:off x="1977" y="1389"/>
                <a:ext cx="91" cy="90"/>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sp>
          <p:nvSpPr>
            <p:cNvPr id="37" name="Text Box 11"/>
            <p:cNvSpPr txBox="1">
              <a:spLocks noChangeArrowheads="1"/>
            </p:cNvSpPr>
            <p:nvPr/>
          </p:nvSpPr>
          <p:spPr bwMode="auto">
            <a:xfrm>
              <a:off x="626533" y="2309814"/>
              <a:ext cx="1213794" cy="307777"/>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RE-EVENT</a:t>
              </a:r>
              <a:endParaRPr lang="en-US" sz="1399" kern="0" dirty="0">
                <a:solidFill>
                  <a:srgbClr val="949EAA"/>
                </a:solidFill>
              </a:endParaRPr>
            </a:p>
          </p:txBody>
        </p:sp>
        <p:sp>
          <p:nvSpPr>
            <p:cNvPr id="40" name="Oval 19"/>
            <p:cNvSpPr>
              <a:spLocks noChangeArrowheads="1"/>
            </p:cNvSpPr>
            <p:nvPr/>
          </p:nvSpPr>
          <p:spPr bwMode="auto">
            <a:xfrm>
              <a:off x="4123373" y="2616729"/>
              <a:ext cx="117475" cy="123825"/>
            </a:xfrm>
            <a:prstGeom prst="ellipse">
              <a:avLst/>
            </a:prstGeom>
            <a:noFill/>
            <a:ln w="28575">
              <a:solidFill>
                <a:srgbClr val="92D050"/>
              </a:solidFill>
              <a:round/>
              <a:headEnd/>
              <a:tailEnd/>
            </a:ln>
            <a:effectLst/>
          </p:spPr>
          <p:txBody>
            <a:bodyPr wrap="none" anchor="ctr"/>
            <a:lstStyle/>
            <a:p>
              <a:pPr defTabSz="913943">
                <a:defRPr/>
              </a:pPr>
              <a:endParaRPr lang="de-DE" sz="1799" kern="0">
                <a:solidFill>
                  <a:sysClr val="windowText" lastClr="000000"/>
                </a:solidFill>
              </a:endParaRPr>
            </a:p>
          </p:txBody>
        </p:sp>
        <p:sp>
          <p:nvSpPr>
            <p:cNvPr id="25" name="Freeform 5"/>
            <p:cNvSpPr>
              <a:spLocks/>
            </p:cNvSpPr>
            <p:nvPr/>
          </p:nvSpPr>
          <p:spPr bwMode="auto">
            <a:xfrm rot="401615">
              <a:off x="1479885" y="2320632"/>
              <a:ext cx="3809161" cy="1495425"/>
            </a:xfrm>
            <a:custGeom>
              <a:avLst/>
              <a:gdLst/>
              <a:ahLst/>
              <a:cxnLst>
                <a:cxn ang="0">
                  <a:pos x="0" y="385"/>
                </a:cxn>
                <a:cxn ang="0">
                  <a:pos x="182" y="249"/>
                </a:cxn>
                <a:cxn ang="0">
                  <a:pos x="273" y="567"/>
                </a:cxn>
                <a:cxn ang="0">
                  <a:pos x="409" y="567"/>
                </a:cxn>
                <a:cxn ang="0">
                  <a:pos x="545" y="430"/>
                </a:cxn>
                <a:cxn ang="0">
                  <a:pos x="635" y="68"/>
                </a:cxn>
                <a:cxn ang="0">
                  <a:pos x="862" y="839"/>
                </a:cxn>
                <a:cxn ang="0">
                  <a:pos x="1061" y="684"/>
                </a:cxn>
                <a:cxn ang="0">
                  <a:pos x="1137" y="659"/>
                </a:cxn>
              </a:cxnLst>
              <a:rect l="0" t="0" r="r" b="b"/>
              <a:pathLst>
                <a:path w="1137" h="942">
                  <a:moveTo>
                    <a:pt x="0" y="385"/>
                  </a:moveTo>
                  <a:cubicBezTo>
                    <a:pt x="68" y="302"/>
                    <a:pt x="136" y="219"/>
                    <a:pt x="182" y="249"/>
                  </a:cubicBezTo>
                  <a:cubicBezTo>
                    <a:pt x="228" y="279"/>
                    <a:pt x="235" y="514"/>
                    <a:pt x="273" y="567"/>
                  </a:cubicBezTo>
                  <a:cubicBezTo>
                    <a:pt x="311" y="620"/>
                    <a:pt x="364" y="590"/>
                    <a:pt x="409" y="567"/>
                  </a:cubicBezTo>
                  <a:cubicBezTo>
                    <a:pt x="454" y="544"/>
                    <a:pt x="507" y="513"/>
                    <a:pt x="545" y="430"/>
                  </a:cubicBezTo>
                  <a:cubicBezTo>
                    <a:pt x="583" y="347"/>
                    <a:pt x="582" y="0"/>
                    <a:pt x="635" y="68"/>
                  </a:cubicBezTo>
                  <a:cubicBezTo>
                    <a:pt x="688" y="136"/>
                    <a:pt x="791" y="736"/>
                    <a:pt x="862" y="839"/>
                  </a:cubicBezTo>
                  <a:cubicBezTo>
                    <a:pt x="933" y="942"/>
                    <a:pt x="1015" y="714"/>
                    <a:pt x="1061" y="684"/>
                  </a:cubicBezTo>
                  <a:cubicBezTo>
                    <a:pt x="1107" y="654"/>
                    <a:pt x="1121" y="664"/>
                    <a:pt x="1137" y="659"/>
                  </a:cubicBezTo>
                </a:path>
              </a:pathLst>
            </a:custGeom>
            <a:noFill/>
            <a:ln w="9525">
              <a:solidFill>
                <a:srgbClr val="000000"/>
              </a:solidFill>
              <a:round/>
              <a:headEnd/>
              <a:tailEnd/>
            </a:ln>
            <a:effectLst/>
          </p:spPr>
          <p:txBody>
            <a:bodyPr/>
            <a:lstStyle/>
            <a:p>
              <a:pPr defTabSz="913943">
                <a:defRPr/>
              </a:pPr>
              <a:endParaRPr lang="de-DE" sz="1799" kern="0">
                <a:solidFill>
                  <a:sysClr val="windowText" lastClr="000000"/>
                </a:solidFill>
              </a:endParaRPr>
            </a:p>
          </p:txBody>
        </p:sp>
        <p:cxnSp>
          <p:nvCxnSpPr>
            <p:cNvPr id="28" name="Gerade Verbindung mit Pfeil 27"/>
            <p:cNvCxnSpPr>
              <a:endCxn id="40" idx="5"/>
            </p:cNvCxnSpPr>
            <p:nvPr/>
          </p:nvCxnSpPr>
          <p:spPr bwMode="auto">
            <a:xfrm flipH="1" flipV="1">
              <a:off x="4223644" y="2722420"/>
              <a:ext cx="977007" cy="801830"/>
            </a:xfrm>
            <a:prstGeom prst="straightConnector1">
              <a:avLst/>
            </a:prstGeom>
            <a:solidFill>
              <a:schemeClr val="tx2"/>
            </a:solidFill>
            <a:ln w="57150" cap="flat" cmpd="sng" algn="ctr">
              <a:solidFill>
                <a:srgbClr val="92D050"/>
              </a:solidFill>
              <a:prstDash val="solid"/>
              <a:round/>
              <a:headEnd type="none" w="med" len="med"/>
              <a:tailEnd type="arrow"/>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sp>
          <p:nvSpPr>
            <p:cNvPr id="31" name="Pfeil nach links 30"/>
            <p:cNvSpPr/>
            <p:nvPr/>
          </p:nvSpPr>
          <p:spPr bwMode="auto">
            <a:xfrm rot="2604476">
              <a:off x="4332614" y="2613539"/>
              <a:ext cx="1870692" cy="828675"/>
            </a:xfrm>
            <a:prstGeom prst="leftArrow">
              <a:avLst/>
            </a:prstGeom>
            <a:solidFill>
              <a:srgbClr val="00B05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spcBef>
                  <a:spcPct val="0"/>
                </a:spcBef>
                <a:buFont typeface="Wingdings" charset="0"/>
                <a:buNone/>
              </a:pPr>
              <a:r>
                <a:rPr lang="en-US" sz="1049" b="1" dirty="0"/>
                <a:t>Corrective change of system state (WAMPAC</a:t>
              </a:r>
              <a:r>
                <a:rPr lang="de-DE" sz="1049" b="1" dirty="0"/>
                <a:t>)</a:t>
              </a:r>
            </a:p>
          </p:txBody>
        </p:sp>
      </p:grpSp>
      <p:sp>
        <p:nvSpPr>
          <p:cNvPr id="34" name="Textfeld 33"/>
          <p:cNvSpPr txBox="1"/>
          <p:nvPr/>
        </p:nvSpPr>
        <p:spPr>
          <a:xfrm>
            <a:off x="7920675" y="1629713"/>
            <a:ext cx="4271325" cy="4674340"/>
          </a:xfrm>
          <a:prstGeom prst="rect">
            <a:avLst/>
          </a:prstGeom>
          <a:noFill/>
        </p:spPr>
        <p:txBody>
          <a:bodyPr wrap="square" lIns="0" tIns="0" rIns="0" bIns="0" rtlCol="0">
            <a:noAutofit/>
          </a:bodyPr>
          <a:lstStyle/>
          <a:p>
            <a:pPr>
              <a:lnSpc>
                <a:spcPct val="150000"/>
              </a:lnSpc>
            </a:pPr>
            <a:r>
              <a:rPr lang="en-US" sz="1999" dirty="0"/>
              <a:t>Corrective actions only if stability is not in danger</a:t>
            </a:r>
          </a:p>
          <a:p>
            <a:pPr marL="266567" indent="-266567">
              <a:lnSpc>
                <a:spcPct val="150000"/>
              </a:lnSpc>
              <a:buFont typeface="Arial" pitchFamily="34" charset="0"/>
              <a:buChar char="•"/>
            </a:pPr>
            <a:r>
              <a:rPr lang="en-US" sz="1799" dirty="0"/>
              <a:t>Load shedding</a:t>
            </a:r>
          </a:p>
          <a:p>
            <a:pPr marL="266567" indent="-266567">
              <a:lnSpc>
                <a:spcPct val="150000"/>
              </a:lnSpc>
              <a:buFont typeface="Arial" pitchFamily="34" charset="0"/>
              <a:buChar char="•"/>
            </a:pPr>
            <a:r>
              <a:rPr lang="en-US" sz="1799" dirty="0"/>
              <a:t>Adaptive protection</a:t>
            </a:r>
          </a:p>
          <a:p>
            <a:pPr marL="266567" indent="-266567">
              <a:lnSpc>
                <a:spcPct val="150000"/>
              </a:lnSpc>
              <a:buFont typeface="Arial" pitchFamily="34" charset="0"/>
              <a:buChar char="•"/>
            </a:pPr>
            <a:r>
              <a:rPr lang="en-US" sz="1799" dirty="0"/>
              <a:t>Adaptive load shedding </a:t>
            </a:r>
          </a:p>
          <a:p>
            <a:pPr marL="266567" indent="-266567">
              <a:lnSpc>
                <a:spcPct val="150000"/>
              </a:lnSpc>
              <a:buFont typeface="Arial" pitchFamily="34" charset="0"/>
              <a:buChar char="•"/>
            </a:pPr>
            <a:r>
              <a:rPr lang="en-US" sz="1799" dirty="0"/>
              <a:t>Adaptive generation shedding</a:t>
            </a:r>
          </a:p>
          <a:p>
            <a:pPr marL="266567" indent="-266567">
              <a:lnSpc>
                <a:spcPct val="150000"/>
              </a:lnSpc>
              <a:buFont typeface="Arial" pitchFamily="34" charset="0"/>
              <a:buChar char="•"/>
            </a:pPr>
            <a:r>
              <a:rPr lang="en-US" sz="1799" dirty="0"/>
              <a:t>HVDC setpoint changes</a:t>
            </a:r>
          </a:p>
          <a:p>
            <a:pPr marL="266567" indent="-266567">
              <a:lnSpc>
                <a:spcPct val="150000"/>
              </a:lnSpc>
              <a:buFont typeface="Arial" pitchFamily="34" charset="0"/>
              <a:buChar char="•"/>
            </a:pPr>
            <a:r>
              <a:rPr lang="en-US" sz="1799" dirty="0"/>
              <a:t>Topology changes</a:t>
            </a:r>
          </a:p>
        </p:txBody>
      </p:sp>
      <p:sp>
        <p:nvSpPr>
          <p:cNvPr id="7" name="Fußzeilenplatzhalter 6">
            <a:extLst>
              <a:ext uri="{FF2B5EF4-FFF2-40B4-BE49-F238E27FC236}">
                <a16:creationId xmlns:a16="http://schemas.microsoft.com/office/drawing/2014/main" id="{6A7C6B84-85B3-4B26-B9BF-1ABCBB82F963}"/>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8" name="Foliennummernplatzhalter 7">
            <a:extLst>
              <a:ext uri="{FF2B5EF4-FFF2-40B4-BE49-F238E27FC236}">
                <a16:creationId xmlns:a16="http://schemas.microsoft.com/office/drawing/2014/main" id="{EF715538-3A71-403D-B904-455B7BEB98AC}"/>
              </a:ext>
            </a:extLst>
          </p:cNvPr>
          <p:cNvSpPr>
            <a:spLocks noGrp="1"/>
          </p:cNvSpPr>
          <p:nvPr>
            <p:ph type="sldNum" sz="quarter" idx="11"/>
          </p:nvPr>
        </p:nvSpPr>
        <p:spPr/>
        <p:txBody>
          <a:bodyPr/>
          <a:lstStyle/>
          <a:p>
            <a:r>
              <a:rPr lang="en-US"/>
              <a:t>Page </a:t>
            </a:r>
            <a:fld id="{15EBE321-CBB1-4E91-BD14-37C8D44326FB}" type="slidenum">
              <a:rPr lang="en-US" smtClean="0"/>
              <a:pPr/>
              <a:t>19</a:t>
            </a:fld>
            <a:endParaRPr lang="en-US"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9B1D187A-093C-4B47-8E25-28B9FAE9FC27}"/>
              </a:ext>
            </a:extLst>
          </p:cNvPr>
          <p:cNvSpPr>
            <a:spLocks noGrp="1"/>
          </p:cNvSpPr>
          <p:nvPr>
            <p:ph type="pic" sz="quarter" idx="12"/>
          </p:nvPr>
        </p:nvSpPr>
        <p:spPr/>
      </p:sp>
      <p:sp>
        <p:nvSpPr>
          <p:cNvPr id="8" name="Titel 7">
            <a:extLst>
              <a:ext uri="{FF2B5EF4-FFF2-40B4-BE49-F238E27FC236}">
                <a16:creationId xmlns:a16="http://schemas.microsoft.com/office/drawing/2014/main" id="{833D9B6A-AF81-49BC-88C3-22BD795B5E7D}"/>
              </a:ext>
            </a:extLst>
          </p:cNvPr>
          <p:cNvSpPr>
            <a:spLocks noGrp="1"/>
          </p:cNvSpPr>
          <p:nvPr>
            <p:ph type="title"/>
          </p:nvPr>
        </p:nvSpPr>
        <p:spPr/>
        <p:txBody>
          <a:bodyPr/>
          <a:lstStyle/>
          <a:p>
            <a:r>
              <a:rPr lang="en-US" dirty="0"/>
              <a:t> </a:t>
            </a:r>
          </a:p>
        </p:txBody>
      </p:sp>
      <p:sp>
        <p:nvSpPr>
          <p:cNvPr id="9" name="Fußzeilenplatzhalter 8">
            <a:extLst>
              <a:ext uri="{FF2B5EF4-FFF2-40B4-BE49-F238E27FC236}">
                <a16:creationId xmlns:a16="http://schemas.microsoft.com/office/drawing/2014/main" id="{7BD1382D-0C8B-432E-8646-06F822E2D63A}"/>
              </a:ext>
            </a:extLst>
          </p:cNvPr>
          <p:cNvSpPr>
            <a:spLocks noGrp="1"/>
          </p:cNvSpPr>
          <p:nvPr>
            <p:ph type="ftr" sz="quarter" idx="16"/>
          </p:nvPr>
        </p:nvSpPr>
        <p:spPr/>
        <p:txBody>
          <a:bodyPr/>
          <a:lstStyle/>
          <a:p>
            <a:pPr>
              <a:lnSpc>
                <a:spcPct val="100000"/>
              </a:lnSpc>
            </a:pPr>
            <a:r>
              <a:rPr lang="en-US"/>
              <a:t>Unrestricted | © Siemens 2021 | Dr. Andreas Litzinger, José Malagon | SE DG EA | 2021-05-27</a:t>
            </a:r>
            <a:endParaRPr lang="en-US" dirty="0"/>
          </a:p>
        </p:txBody>
      </p:sp>
      <mc:AlternateContent xmlns:mc="http://schemas.openxmlformats.org/markup-compatibility/2006">
        <mc:Choice xmlns:psuz="http://schemas.microsoft.com/office/powerpoint/2016/summaryzoom" Requires="psuz">
          <p:graphicFrame>
            <p:nvGraphicFramePr>
              <p:cNvPr id="5" name="Zusammenfassungszoom 4">
                <a:extLst>
                  <a:ext uri="{FF2B5EF4-FFF2-40B4-BE49-F238E27FC236}">
                    <a16:creationId xmlns:a16="http://schemas.microsoft.com/office/drawing/2014/main" id="{EC605D96-A5C0-446A-976F-CE20DDAC7353}"/>
                  </a:ext>
                </a:extLst>
              </p:cNvPr>
              <p:cNvGraphicFramePr>
                <a:graphicFrameLocks noChangeAspect="1"/>
              </p:cNvGraphicFramePr>
              <p:nvPr>
                <p:extLst>
                  <p:ext uri="{D42A27DB-BD31-4B8C-83A1-F6EECF244321}">
                    <p14:modId xmlns:p14="http://schemas.microsoft.com/office/powerpoint/2010/main" val="2644255239"/>
                  </p:ext>
                </p:extLst>
              </p:nvPr>
            </p:nvGraphicFramePr>
            <p:xfrm>
              <a:off x="410400" y="1449388"/>
              <a:ext cx="11295825" cy="4751387"/>
            </p:xfrm>
            <a:graphic>
              <a:graphicData uri="http://schemas.microsoft.com/office/powerpoint/2016/summaryzoom">
                <psuz:summaryZm>
                  <psuz:summaryZmObj sectionId="{C54510C2-4863-4A6A-825E-537E19B105CC}" offsetFactorX="-5809" offsetFactorY="-25984" scaleFactorX="100882" scaleFactorY="100883">
                    <psuz:zmPr id="{1DD2B997-439C-468A-A36C-24D719BDE1A2}" transitionDur="1000">
                      <p166:blipFill xmlns:p166="http://schemas.microsoft.com/office/powerpoint/2016/6/main">
                        <a:blip r:embed="rId2"/>
                        <a:stretch>
                          <a:fillRect/>
                        </a:stretch>
                      </p166:blipFill>
                      <p166:spPr xmlns:p166="http://schemas.microsoft.com/office/powerpoint/2016/6/main">
                        <a:xfrm>
                          <a:off x="151788" y="190493"/>
                          <a:ext cx="5127954" cy="2884502"/>
                        </a:xfrm>
                        <a:prstGeom prst="rect">
                          <a:avLst/>
                        </a:prstGeom>
                        <a:ln w="3175">
                          <a:solidFill>
                            <a:prstClr val="ltGray"/>
                          </a:solidFill>
                        </a:ln>
                      </p166:spPr>
                    </psuz:zmPr>
                  </psuz:summaryZmObj>
                  <psuz:summaryZmObj sectionId="{9364B3CB-FDE9-42FC-A28F-FD59BF564FA6}" offsetFactorX="-1134" offsetFactorY="-25318">
                    <psuz:zmPr id="{6A337B77-7A53-4A22-BA03-92AF6D86F209}" transitionDur="1000">
                      <p166:blipFill xmlns:p166="http://schemas.microsoft.com/office/powerpoint/2016/6/main">
                        <a:blip r:embed="rId3"/>
                        <a:stretch>
                          <a:fillRect/>
                        </a:stretch>
                      </p166:blipFill>
                      <p166:spPr xmlns:p166="http://schemas.microsoft.com/office/powerpoint/2016/6/main">
                        <a:xfrm>
                          <a:off x="5685578" y="222160"/>
                          <a:ext cx="5083121" cy="2859255"/>
                        </a:xfrm>
                        <a:prstGeom prst="rect">
                          <a:avLst/>
                        </a:prstGeom>
                        <a:ln w="3175">
                          <a:solidFill>
                            <a:prstClr val="ltGray"/>
                          </a:solidFill>
                        </a:ln>
                      </p166:spPr>
                    </psuz:zmPr>
                  </psuz:summaryZmObj>
                  <psuz:gridLayout/>
                </psuz:summaryZm>
              </a:graphicData>
            </a:graphic>
          </p:graphicFrame>
        </mc:Choice>
        <mc:Fallback>
          <p:grpSp>
            <p:nvGrpSpPr>
              <p:cNvPr id="5" name="Zusammenfassungszoom 4">
                <a:extLst>
                  <a:ext uri="{FF2B5EF4-FFF2-40B4-BE49-F238E27FC236}">
                    <a16:creationId xmlns:a16="http://schemas.microsoft.com/office/drawing/2014/main" id="{EC605D96-A5C0-446A-976F-CE20DDAC7353}"/>
                  </a:ext>
                </a:extLst>
              </p:cNvPr>
              <p:cNvGrpSpPr>
                <a:grpSpLocks noGrp="1" noUngrp="1" noRot="1" noChangeAspect="1" noMove="1" noResize="1"/>
              </p:cNvGrpSpPr>
              <p:nvPr/>
            </p:nvGrpSpPr>
            <p:grpSpPr>
              <a:xfrm>
                <a:off x="410400" y="1449388"/>
                <a:ext cx="11295825" cy="4751387"/>
                <a:chOff x="410400" y="1449388"/>
                <a:chExt cx="11295825" cy="4751387"/>
              </a:xfrm>
            </p:grpSpPr>
            <p:pic>
              <p:nvPicPr>
                <p:cNvPr id="3" name="Grafik 3">
                  <a:hlinkClick r:id="rId4" action="ppaction://hlinksldjump"/>
                </p:cNvPr>
                <p:cNvPicPr>
                  <a:picLocks noSelect="1" noRot="1" noChangeAspect="1" noMove="1" noResize="1" noEditPoints="1" noAdjustHandles="1" noChangeArrowheads="1" noChangeShapeType="1"/>
                </p:cNvPicPr>
                <p:nvPr/>
              </p:nvPicPr>
              <p:blipFill>
                <a:blip r:embed="rId2"/>
                <a:stretch>
                  <a:fillRect/>
                </a:stretch>
              </p:blipFill>
              <p:spPr>
                <a:xfrm>
                  <a:off x="562188" y="1639881"/>
                  <a:ext cx="5127954" cy="2884502"/>
                </a:xfrm>
                <a:prstGeom prst="rect">
                  <a:avLst/>
                </a:prstGeom>
                <a:ln w="3175">
                  <a:solidFill>
                    <a:prstClr val="ltGray"/>
                  </a:solidFill>
                </a:ln>
              </p:spPr>
            </p:pic>
            <p:pic>
              <p:nvPicPr>
                <p:cNvPr id="4" name="Grafik 4">
                  <a:hlinkClick r:id="rId5"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6095978" y="1671548"/>
                  <a:ext cx="5083121" cy="2859255"/>
                </a:xfrm>
                <a:prstGeom prst="rect">
                  <a:avLst/>
                </a:prstGeom>
                <a:ln w="3175">
                  <a:solidFill>
                    <a:prstClr val="ltGray"/>
                  </a:solidFill>
                </a:ln>
              </p:spPr>
            </p:pic>
          </p:grpSp>
        </mc:Fallback>
      </mc:AlternateContent>
      <p:sp>
        <p:nvSpPr>
          <p:cNvPr id="2" name="Foliennummernplatzhalter 1">
            <a:extLst>
              <a:ext uri="{FF2B5EF4-FFF2-40B4-BE49-F238E27FC236}">
                <a16:creationId xmlns:a16="http://schemas.microsoft.com/office/drawing/2014/main" id="{52CF0F07-DD6B-4D9C-A804-B4C809B38F08}"/>
              </a:ext>
            </a:extLst>
          </p:cNvPr>
          <p:cNvSpPr>
            <a:spLocks noGrp="1"/>
          </p:cNvSpPr>
          <p:nvPr>
            <p:ph type="sldNum" sz="quarter" idx="17"/>
          </p:nvPr>
        </p:nvSpPr>
        <p:spPr/>
        <p:txBody>
          <a:bodyPr/>
          <a:lstStyle/>
          <a:p>
            <a:r>
              <a:rPr lang="en-US"/>
              <a:t>Page </a:t>
            </a:r>
            <a:fld id="{15EBE321-CBB1-4E91-BD14-37C8D44326FB}" type="slidenum">
              <a:rPr lang="en-US" smtClean="0"/>
              <a:pPr/>
              <a:t>2</a:t>
            </a:fld>
            <a:endParaRPr lang="en-US" dirty="0"/>
          </a:p>
        </p:txBody>
      </p:sp>
    </p:spTree>
    <p:extLst>
      <p:ext uri="{BB962C8B-B14F-4D97-AF65-F5344CB8AC3E}">
        <p14:creationId xmlns:p14="http://schemas.microsoft.com/office/powerpoint/2010/main" val="2809002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4"/>
          <p:cNvSpPr>
            <a:spLocks noChangeArrowheads="1"/>
          </p:cNvSpPr>
          <p:nvPr/>
        </p:nvSpPr>
        <p:spPr bwMode="auto">
          <a:xfrm>
            <a:off x="413529" y="1609926"/>
            <a:ext cx="7368830" cy="4689063"/>
          </a:xfrm>
          <a:prstGeom prst="rect">
            <a:avLst/>
          </a:prstGeom>
          <a:gradFill flip="none" rotWithShape="1">
            <a:gsLst>
              <a:gs pos="0">
                <a:schemeClr val="bg1">
                  <a:lumMod val="65000"/>
                  <a:shade val="30000"/>
                  <a:satMod val="115000"/>
                </a:schemeClr>
              </a:gs>
              <a:gs pos="50000">
                <a:schemeClr val="bg1">
                  <a:lumMod val="65000"/>
                  <a:shade val="67500"/>
                  <a:satMod val="115000"/>
                </a:schemeClr>
              </a:gs>
              <a:gs pos="100000">
                <a:schemeClr val="bg1">
                  <a:lumMod val="65000"/>
                  <a:shade val="100000"/>
                  <a:satMod val="115000"/>
                </a:schemeClr>
              </a:gs>
            </a:gsLst>
            <a:lin ang="2700000" scaled="1"/>
            <a:tileRect/>
          </a:gradFill>
          <a:ln>
            <a:noFill/>
          </a:ln>
        </p:spPr>
        <p:style>
          <a:lnRef idx="0">
            <a:scrgbClr r="0" g="0" b="0"/>
          </a:lnRef>
          <a:fillRef idx="0">
            <a:scrgbClr r="0" g="0" b="0"/>
          </a:fillRef>
          <a:effectRef idx="0">
            <a:scrgbClr r="0" g="0" b="0"/>
          </a:effectRef>
          <a:fontRef idx="minor">
            <a:schemeClr val="lt1"/>
          </a:fontRef>
        </p:style>
        <p:txBody>
          <a:bodyPr wrap="none" anchor="ctr"/>
          <a:lstStyle/>
          <a:p>
            <a:pPr defTabSz="913943">
              <a:defRPr/>
            </a:pPr>
            <a:endParaRPr lang="de-DE" sz="1799" kern="0" dirty="0">
              <a:solidFill>
                <a:sysClr val="windowText" lastClr="000000"/>
              </a:solidFill>
            </a:endParaRPr>
          </a:p>
        </p:txBody>
      </p:sp>
      <p:sp>
        <p:nvSpPr>
          <p:cNvPr id="2" name="Titel 1"/>
          <p:cNvSpPr>
            <a:spLocks noGrp="1"/>
          </p:cNvSpPr>
          <p:nvPr>
            <p:ph type="title"/>
          </p:nvPr>
        </p:nvSpPr>
        <p:spPr/>
        <p:txBody>
          <a:bodyPr/>
          <a:lstStyle/>
          <a:p>
            <a:r>
              <a:rPr lang="en-US" dirty="0"/>
              <a:t>What Actions are possible?</a:t>
            </a:r>
            <a:br>
              <a:rPr lang="en-US" dirty="0"/>
            </a:br>
            <a:r>
              <a:rPr lang="en-US" dirty="0"/>
              <a:t>Corrective actions (fast)</a:t>
            </a:r>
          </a:p>
        </p:txBody>
      </p:sp>
      <p:sp>
        <p:nvSpPr>
          <p:cNvPr id="25" name="Freeform 5"/>
          <p:cNvSpPr>
            <a:spLocks/>
          </p:cNvSpPr>
          <p:nvPr/>
        </p:nvSpPr>
        <p:spPr bwMode="auto">
          <a:xfrm rot="401615">
            <a:off x="1488635" y="2321209"/>
            <a:ext cx="3807178" cy="1494647"/>
          </a:xfrm>
          <a:custGeom>
            <a:avLst/>
            <a:gdLst/>
            <a:ahLst/>
            <a:cxnLst>
              <a:cxn ang="0">
                <a:pos x="0" y="385"/>
              </a:cxn>
              <a:cxn ang="0">
                <a:pos x="182" y="249"/>
              </a:cxn>
              <a:cxn ang="0">
                <a:pos x="273" y="567"/>
              </a:cxn>
              <a:cxn ang="0">
                <a:pos x="409" y="567"/>
              </a:cxn>
              <a:cxn ang="0">
                <a:pos x="545" y="430"/>
              </a:cxn>
              <a:cxn ang="0">
                <a:pos x="635" y="68"/>
              </a:cxn>
              <a:cxn ang="0">
                <a:pos x="862" y="839"/>
              </a:cxn>
              <a:cxn ang="0">
                <a:pos x="1061" y="684"/>
              </a:cxn>
              <a:cxn ang="0">
                <a:pos x="1137" y="659"/>
              </a:cxn>
            </a:cxnLst>
            <a:rect l="0" t="0" r="r" b="b"/>
            <a:pathLst>
              <a:path w="1137" h="942">
                <a:moveTo>
                  <a:pt x="0" y="385"/>
                </a:moveTo>
                <a:cubicBezTo>
                  <a:pt x="68" y="302"/>
                  <a:pt x="136" y="219"/>
                  <a:pt x="182" y="249"/>
                </a:cubicBezTo>
                <a:cubicBezTo>
                  <a:pt x="228" y="279"/>
                  <a:pt x="235" y="514"/>
                  <a:pt x="273" y="567"/>
                </a:cubicBezTo>
                <a:cubicBezTo>
                  <a:pt x="311" y="620"/>
                  <a:pt x="364" y="590"/>
                  <a:pt x="409" y="567"/>
                </a:cubicBezTo>
                <a:cubicBezTo>
                  <a:pt x="454" y="544"/>
                  <a:pt x="507" y="513"/>
                  <a:pt x="545" y="430"/>
                </a:cubicBezTo>
                <a:cubicBezTo>
                  <a:pt x="583" y="347"/>
                  <a:pt x="582" y="0"/>
                  <a:pt x="635" y="68"/>
                </a:cubicBezTo>
                <a:cubicBezTo>
                  <a:pt x="688" y="136"/>
                  <a:pt x="791" y="736"/>
                  <a:pt x="862" y="839"/>
                </a:cubicBezTo>
                <a:cubicBezTo>
                  <a:pt x="933" y="942"/>
                  <a:pt x="1015" y="714"/>
                  <a:pt x="1061" y="684"/>
                </a:cubicBezTo>
                <a:cubicBezTo>
                  <a:pt x="1107" y="654"/>
                  <a:pt x="1121" y="664"/>
                  <a:pt x="1137" y="659"/>
                </a:cubicBezTo>
              </a:path>
            </a:pathLst>
          </a:custGeom>
          <a:noFill/>
          <a:ln w="9525">
            <a:solidFill>
              <a:srgbClr val="000000"/>
            </a:solidFill>
            <a:round/>
            <a:headEnd/>
            <a:tailEnd/>
          </a:ln>
          <a:effectLst/>
        </p:spPr>
        <p:txBody>
          <a:bodyPr/>
          <a:lstStyle/>
          <a:p>
            <a:pPr defTabSz="913943">
              <a:defRPr/>
            </a:pPr>
            <a:endParaRPr lang="de-DE" sz="1799" kern="0">
              <a:solidFill>
                <a:sysClr val="windowText" lastClr="000000"/>
              </a:solidFill>
            </a:endParaRPr>
          </a:p>
        </p:txBody>
      </p:sp>
      <p:sp>
        <p:nvSpPr>
          <p:cNvPr id="26" name="Freeform 6"/>
          <p:cNvSpPr>
            <a:spLocks/>
          </p:cNvSpPr>
          <p:nvPr/>
        </p:nvSpPr>
        <p:spPr bwMode="auto">
          <a:xfrm>
            <a:off x="1167791" y="1783621"/>
            <a:ext cx="5669714" cy="1289965"/>
          </a:xfrm>
          <a:custGeom>
            <a:avLst/>
            <a:gdLst/>
            <a:ahLst/>
            <a:cxnLst>
              <a:cxn ang="0">
                <a:pos x="0" y="0"/>
              </a:cxn>
              <a:cxn ang="0">
                <a:pos x="635" y="454"/>
              </a:cxn>
              <a:cxn ang="0">
                <a:pos x="1633" y="499"/>
              </a:cxn>
              <a:cxn ang="0">
                <a:pos x="1815" y="499"/>
              </a:cxn>
            </a:cxnLst>
            <a:rect l="0" t="0" r="r" b="b"/>
            <a:pathLst>
              <a:path w="1830" h="537">
                <a:moveTo>
                  <a:pt x="0" y="0"/>
                </a:moveTo>
                <a:cubicBezTo>
                  <a:pt x="181" y="185"/>
                  <a:pt x="363" y="371"/>
                  <a:pt x="635" y="454"/>
                </a:cubicBezTo>
                <a:cubicBezTo>
                  <a:pt x="907" y="537"/>
                  <a:pt x="1436" y="491"/>
                  <a:pt x="1633" y="499"/>
                </a:cubicBezTo>
                <a:cubicBezTo>
                  <a:pt x="1830" y="507"/>
                  <a:pt x="1822" y="503"/>
                  <a:pt x="1815" y="499"/>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sp>
        <p:nvSpPr>
          <p:cNvPr id="27" name="Freeform 7"/>
          <p:cNvSpPr>
            <a:spLocks/>
          </p:cNvSpPr>
          <p:nvPr/>
        </p:nvSpPr>
        <p:spPr bwMode="auto">
          <a:xfrm>
            <a:off x="899645" y="2935544"/>
            <a:ext cx="5447050" cy="3218303"/>
          </a:xfrm>
          <a:custGeom>
            <a:avLst/>
            <a:gdLst/>
            <a:ahLst/>
            <a:cxnLst>
              <a:cxn ang="0">
                <a:pos x="0" y="0"/>
              </a:cxn>
              <a:cxn ang="0">
                <a:pos x="861" y="181"/>
              </a:cxn>
              <a:cxn ang="0">
                <a:pos x="1769" y="635"/>
              </a:cxn>
            </a:cxnLst>
            <a:rect l="0" t="0" r="r" b="b"/>
            <a:pathLst>
              <a:path w="1769" h="635">
                <a:moveTo>
                  <a:pt x="0" y="0"/>
                </a:moveTo>
                <a:cubicBezTo>
                  <a:pt x="283" y="37"/>
                  <a:pt x="566" y="75"/>
                  <a:pt x="861" y="181"/>
                </a:cubicBezTo>
                <a:cubicBezTo>
                  <a:pt x="1156" y="287"/>
                  <a:pt x="1462" y="461"/>
                  <a:pt x="1769" y="635"/>
                </a:cubicBezTo>
              </a:path>
            </a:pathLst>
          </a:custGeom>
          <a:noFill/>
          <a:ln w="19050" cmpd="sng">
            <a:solidFill>
              <a:srgbClr val="336699"/>
            </a:solidFill>
            <a:round/>
            <a:headEnd/>
            <a:tailEnd/>
          </a:ln>
          <a:effectLst/>
        </p:spPr>
        <p:txBody>
          <a:bodyPr/>
          <a:lstStyle/>
          <a:p>
            <a:pPr defTabSz="913943">
              <a:defRPr/>
            </a:pPr>
            <a:endParaRPr lang="de-DE" sz="1799" kern="0">
              <a:solidFill>
                <a:sysClr val="windowText" lastClr="000000"/>
              </a:solidFill>
            </a:endParaRPr>
          </a:p>
        </p:txBody>
      </p:sp>
      <p:sp>
        <p:nvSpPr>
          <p:cNvPr id="28" name="Freeform 8"/>
          <p:cNvSpPr>
            <a:spLocks/>
          </p:cNvSpPr>
          <p:nvPr/>
        </p:nvSpPr>
        <p:spPr bwMode="auto">
          <a:xfrm>
            <a:off x="3382248" y="2433179"/>
            <a:ext cx="548201" cy="544959"/>
          </a:xfrm>
          <a:custGeom>
            <a:avLst/>
            <a:gdLst>
              <a:gd name="connsiteX0" fmla="*/ 0 w 11219"/>
              <a:gd name="connsiteY0" fmla="*/ 8772 h 10000"/>
              <a:gd name="connsiteX1" fmla="*/ 6396 w 11219"/>
              <a:gd name="connsiteY1" fmla="*/ 9519 h 10000"/>
              <a:gd name="connsiteX2" fmla="*/ 11219 w 11219"/>
              <a:gd name="connsiteY2" fmla="*/ 10000 h 10000"/>
              <a:gd name="connsiteX3" fmla="*/ 8949 w 11219"/>
              <a:gd name="connsiteY3" fmla="*/ 4880 h 10000"/>
              <a:gd name="connsiteX4" fmla="*/ 6113 w 11219"/>
              <a:gd name="connsiteY4" fmla="*/ 447 h 10000"/>
              <a:gd name="connsiteX5" fmla="*/ 4198 w 11219"/>
              <a:gd name="connsiteY5" fmla="*/ 0 h 10000"/>
              <a:gd name="connsiteX6" fmla="*/ 2992 w 11219"/>
              <a:gd name="connsiteY6" fmla="*/ 1478 h 10000"/>
              <a:gd name="connsiteX7" fmla="*/ 2354 w 11219"/>
              <a:gd name="connsiteY7" fmla="*/ 4570 h 10000"/>
              <a:gd name="connsiteX8" fmla="*/ 2070 w 11219"/>
              <a:gd name="connsiteY8" fmla="*/ 6117 h 10000"/>
              <a:gd name="connsiteX9" fmla="*/ 0 w 11219"/>
              <a:gd name="connsiteY9" fmla="*/ 8772 h 10000"/>
              <a:gd name="connsiteX0" fmla="*/ 0 w 11219"/>
              <a:gd name="connsiteY0" fmla="*/ 8772 h 10000"/>
              <a:gd name="connsiteX1" fmla="*/ 6396 w 11219"/>
              <a:gd name="connsiteY1" fmla="*/ 9519 h 10000"/>
              <a:gd name="connsiteX2" fmla="*/ 11219 w 11219"/>
              <a:gd name="connsiteY2" fmla="*/ 10000 h 10000"/>
              <a:gd name="connsiteX3" fmla="*/ 8949 w 11219"/>
              <a:gd name="connsiteY3" fmla="*/ 4880 h 10000"/>
              <a:gd name="connsiteX4" fmla="*/ 6113 w 11219"/>
              <a:gd name="connsiteY4" fmla="*/ 447 h 10000"/>
              <a:gd name="connsiteX5" fmla="*/ 4198 w 11219"/>
              <a:gd name="connsiteY5" fmla="*/ 0 h 10000"/>
              <a:gd name="connsiteX6" fmla="*/ 2992 w 11219"/>
              <a:gd name="connsiteY6" fmla="*/ 1478 h 10000"/>
              <a:gd name="connsiteX7" fmla="*/ 2354 w 11219"/>
              <a:gd name="connsiteY7" fmla="*/ 4570 h 10000"/>
              <a:gd name="connsiteX8" fmla="*/ 1320 w 11219"/>
              <a:gd name="connsiteY8" fmla="*/ 5755 h 10000"/>
              <a:gd name="connsiteX9" fmla="*/ 0 w 11219"/>
              <a:gd name="connsiteY9" fmla="*/ 8772 h 10000"/>
              <a:gd name="connsiteX0" fmla="*/ 0 w 11219"/>
              <a:gd name="connsiteY0" fmla="*/ 8772 h 10000"/>
              <a:gd name="connsiteX1" fmla="*/ 6396 w 11219"/>
              <a:gd name="connsiteY1" fmla="*/ 9519 h 10000"/>
              <a:gd name="connsiteX2" fmla="*/ 11219 w 11219"/>
              <a:gd name="connsiteY2" fmla="*/ 10000 h 10000"/>
              <a:gd name="connsiteX3" fmla="*/ 8949 w 11219"/>
              <a:gd name="connsiteY3" fmla="*/ 4880 h 10000"/>
              <a:gd name="connsiteX4" fmla="*/ 6113 w 11219"/>
              <a:gd name="connsiteY4" fmla="*/ 447 h 10000"/>
              <a:gd name="connsiteX5" fmla="*/ 4198 w 11219"/>
              <a:gd name="connsiteY5" fmla="*/ 0 h 10000"/>
              <a:gd name="connsiteX6" fmla="*/ 2992 w 11219"/>
              <a:gd name="connsiteY6" fmla="*/ 1478 h 10000"/>
              <a:gd name="connsiteX7" fmla="*/ 1932 w 11219"/>
              <a:gd name="connsiteY7" fmla="*/ 4072 h 10000"/>
              <a:gd name="connsiteX8" fmla="*/ 1320 w 11219"/>
              <a:gd name="connsiteY8" fmla="*/ 5755 h 10000"/>
              <a:gd name="connsiteX9" fmla="*/ 0 w 11219"/>
              <a:gd name="connsiteY9" fmla="*/ 8772 h 10000"/>
              <a:gd name="connsiteX0" fmla="*/ 0 w 11219"/>
              <a:gd name="connsiteY0" fmla="*/ 8998 h 10226"/>
              <a:gd name="connsiteX1" fmla="*/ 6396 w 11219"/>
              <a:gd name="connsiteY1" fmla="*/ 9745 h 10226"/>
              <a:gd name="connsiteX2" fmla="*/ 11219 w 11219"/>
              <a:gd name="connsiteY2" fmla="*/ 10226 h 10226"/>
              <a:gd name="connsiteX3" fmla="*/ 8949 w 11219"/>
              <a:gd name="connsiteY3" fmla="*/ 5106 h 10226"/>
              <a:gd name="connsiteX4" fmla="*/ 6113 w 11219"/>
              <a:gd name="connsiteY4" fmla="*/ 673 h 10226"/>
              <a:gd name="connsiteX5" fmla="*/ 4479 w 11219"/>
              <a:gd name="connsiteY5" fmla="*/ 0 h 10226"/>
              <a:gd name="connsiteX6" fmla="*/ 2992 w 11219"/>
              <a:gd name="connsiteY6" fmla="*/ 1704 h 10226"/>
              <a:gd name="connsiteX7" fmla="*/ 1932 w 11219"/>
              <a:gd name="connsiteY7" fmla="*/ 4298 h 10226"/>
              <a:gd name="connsiteX8" fmla="*/ 1320 w 11219"/>
              <a:gd name="connsiteY8" fmla="*/ 5981 h 10226"/>
              <a:gd name="connsiteX9" fmla="*/ 0 w 11219"/>
              <a:gd name="connsiteY9" fmla="*/ 8998 h 10226"/>
              <a:gd name="connsiteX0" fmla="*/ 0 w 11219"/>
              <a:gd name="connsiteY0" fmla="*/ 9272 h 10500"/>
              <a:gd name="connsiteX1" fmla="*/ 6396 w 11219"/>
              <a:gd name="connsiteY1" fmla="*/ 10019 h 10500"/>
              <a:gd name="connsiteX2" fmla="*/ 11219 w 11219"/>
              <a:gd name="connsiteY2" fmla="*/ 10500 h 10500"/>
              <a:gd name="connsiteX3" fmla="*/ 8949 w 11219"/>
              <a:gd name="connsiteY3" fmla="*/ 5380 h 10500"/>
              <a:gd name="connsiteX4" fmla="*/ 6113 w 11219"/>
              <a:gd name="connsiteY4" fmla="*/ 947 h 10500"/>
              <a:gd name="connsiteX5" fmla="*/ 4479 w 11219"/>
              <a:gd name="connsiteY5" fmla="*/ 274 h 10500"/>
              <a:gd name="connsiteX6" fmla="*/ 2992 w 11219"/>
              <a:gd name="connsiteY6" fmla="*/ 1978 h 10500"/>
              <a:gd name="connsiteX7" fmla="*/ 1932 w 11219"/>
              <a:gd name="connsiteY7" fmla="*/ 4572 h 10500"/>
              <a:gd name="connsiteX8" fmla="*/ 1320 w 11219"/>
              <a:gd name="connsiteY8" fmla="*/ 6255 h 10500"/>
              <a:gd name="connsiteX9" fmla="*/ 0 w 11219"/>
              <a:gd name="connsiteY9" fmla="*/ 9272 h 10500"/>
              <a:gd name="connsiteX0" fmla="*/ 0 w 11219"/>
              <a:gd name="connsiteY0" fmla="*/ 9272 h 10500"/>
              <a:gd name="connsiteX1" fmla="*/ 6396 w 11219"/>
              <a:gd name="connsiteY1" fmla="*/ 10019 h 10500"/>
              <a:gd name="connsiteX2" fmla="*/ 11219 w 11219"/>
              <a:gd name="connsiteY2" fmla="*/ 10500 h 10500"/>
              <a:gd name="connsiteX3" fmla="*/ 8949 w 11219"/>
              <a:gd name="connsiteY3" fmla="*/ 5380 h 10500"/>
              <a:gd name="connsiteX4" fmla="*/ 6441 w 11219"/>
              <a:gd name="connsiteY4" fmla="*/ 721 h 10500"/>
              <a:gd name="connsiteX5" fmla="*/ 4479 w 11219"/>
              <a:gd name="connsiteY5" fmla="*/ 274 h 10500"/>
              <a:gd name="connsiteX6" fmla="*/ 2992 w 11219"/>
              <a:gd name="connsiteY6" fmla="*/ 1978 h 10500"/>
              <a:gd name="connsiteX7" fmla="*/ 1932 w 11219"/>
              <a:gd name="connsiteY7" fmla="*/ 4572 h 10500"/>
              <a:gd name="connsiteX8" fmla="*/ 1320 w 11219"/>
              <a:gd name="connsiteY8" fmla="*/ 6255 h 10500"/>
              <a:gd name="connsiteX9" fmla="*/ 0 w 11219"/>
              <a:gd name="connsiteY9" fmla="*/ 9272 h 10500"/>
              <a:gd name="connsiteX0" fmla="*/ 0 w 11219"/>
              <a:gd name="connsiteY0" fmla="*/ 9364 h 10592"/>
              <a:gd name="connsiteX1" fmla="*/ 6396 w 11219"/>
              <a:gd name="connsiteY1" fmla="*/ 10111 h 10592"/>
              <a:gd name="connsiteX2" fmla="*/ 11219 w 11219"/>
              <a:gd name="connsiteY2" fmla="*/ 10592 h 10592"/>
              <a:gd name="connsiteX3" fmla="*/ 8949 w 11219"/>
              <a:gd name="connsiteY3" fmla="*/ 5472 h 10592"/>
              <a:gd name="connsiteX4" fmla="*/ 6441 w 11219"/>
              <a:gd name="connsiteY4" fmla="*/ 813 h 10592"/>
              <a:gd name="connsiteX5" fmla="*/ 4479 w 11219"/>
              <a:gd name="connsiteY5" fmla="*/ 366 h 10592"/>
              <a:gd name="connsiteX6" fmla="*/ 2992 w 11219"/>
              <a:gd name="connsiteY6" fmla="*/ 2070 h 10592"/>
              <a:gd name="connsiteX7" fmla="*/ 1932 w 11219"/>
              <a:gd name="connsiteY7" fmla="*/ 4664 h 10592"/>
              <a:gd name="connsiteX8" fmla="*/ 1320 w 11219"/>
              <a:gd name="connsiteY8" fmla="*/ 6347 h 10592"/>
              <a:gd name="connsiteX9" fmla="*/ 0 w 11219"/>
              <a:gd name="connsiteY9" fmla="*/ 9364 h 10592"/>
              <a:gd name="connsiteX0" fmla="*/ 0 w 10797"/>
              <a:gd name="connsiteY0" fmla="*/ 9364 h 10366"/>
              <a:gd name="connsiteX1" fmla="*/ 6396 w 10797"/>
              <a:gd name="connsiteY1" fmla="*/ 10111 h 10366"/>
              <a:gd name="connsiteX2" fmla="*/ 10797 w 10797"/>
              <a:gd name="connsiteY2" fmla="*/ 10366 h 10366"/>
              <a:gd name="connsiteX3" fmla="*/ 8949 w 10797"/>
              <a:gd name="connsiteY3" fmla="*/ 5472 h 10366"/>
              <a:gd name="connsiteX4" fmla="*/ 6441 w 10797"/>
              <a:gd name="connsiteY4" fmla="*/ 813 h 10366"/>
              <a:gd name="connsiteX5" fmla="*/ 4479 w 10797"/>
              <a:gd name="connsiteY5" fmla="*/ 366 h 10366"/>
              <a:gd name="connsiteX6" fmla="*/ 2992 w 10797"/>
              <a:gd name="connsiteY6" fmla="*/ 2070 h 10366"/>
              <a:gd name="connsiteX7" fmla="*/ 1932 w 10797"/>
              <a:gd name="connsiteY7" fmla="*/ 4664 h 10366"/>
              <a:gd name="connsiteX8" fmla="*/ 1320 w 10797"/>
              <a:gd name="connsiteY8" fmla="*/ 6347 h 10366"/>
              <a:gd name="connsiteX9" fmla="*/ 0 w 10797"/>
              <a:gd name="connsiteY9" fmla="*/ 9364 h 10366"/>
              <a:gd name="connsiteX0" fmla="*/ 0 w 10797"/>
              <a:gd name="connsiteY0" fmla="*/ 9364 h 10366"/>
              <a:gd name="connsiteX1" fmla="*/ 6349 w 10797"/>
              <a:gd name="connsiteY1" fmla="*/ 10020 h 10366"/>
              <a:gd name="connsiteX2" fmla="*/ 10797 w 10797"/>
              <a:gd name="connsiteY2" fmla="*/ 10366 h 10366"/>
              <a:gd name="connsiteX3" fmla="*/ 8949 w 10797"/>
              <a:gd name="connsiteY3" fmla="*/ 5472 h 10366"/>
              <a:gd name="connsiteX4" fmla="*/ 6441 w 10797"/>
              <a:gd name="connsiteY4" fmla="*/ 813 h 10366"/>
              <a:gd name="connsiteX5" fmla="*/ 4479 w 10797"/>
              <a:gd name="connsiteY5" fmla="*/ 366 h 10366"/>
              <a:gd name="connsiteX6" fmla="*/ 2992 w 10797"/>
              <a:gd name="connsiteY6" fmla="*/ 2070 h 10366"/>
              <a:gd name="connsiteX7" fmla="*/ 1932 w 10797"/>
              <a:gd name="connsiteY7" fmla="*/ 4664 h 10366"/>
              <a:gd name="connsiteX8" fmla="*/ 1320 w 10797"/>
              <a:gd name="connsiteY8" fmla="*/ 6347 h 10366"/>
              <a:gd name="connsiteX9" fmla="*/ 0 w 10797"/>
              <a:gd name="connsiteY9" fmla="*/ 9364 h 10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97" h="10366">
                <a:moveTo>
                  <a:pt x="0" y="9364"/>
                </a:moveTo>
                <a:lnTo>
                  <a:pt x="6349" y="10020"/>
                </a:lnTo>
                <a:lnTo>
                  <a:pt x="10797" y="10366"/>
                </a:lnTo>
                <a:lnTo>
                  <a:pt x="8949" y="5472"/>
                </a:lnTo>
                <a:lnTo>
                  <a:pt x="6441" y="813"/>
                </a:lnTo>
                <a:cubicBezTo>
                  <a:pt x="5193" y="0"/>
                  <a:pt x="5352" y="92"/>
                  <a:pt x="4479" y="366"/>
                </a:cubicBezTo>
                <a:lnTo>
                  <a:pt x="2992" y="2070"/>
                </a:lnTo>
                <a:lnTo>
                  <a:pt x="1932" y="4664"/>
                </a:lnTo>
                <a:cubicBezTo>
                  <a:pt x="1837" y="5180"/>
                  <a:pt x="1415" y="5831"/>
                  <a:pt x="1320" y="6347"/>
                </a:cubicBezTo>
                <a:lnTo>
                  <a:pt x="0" y="9364"/>
                </a:lnTo>
                <a:close/>
              </a:path>
            </a:pathLst>
          </a:custGeom>
          <a:solidFill>
            <a:srgbClr val="FF0000"/>
          </a:solidFill>
          <a:ln w="9525">
            <a:noFill/>
            <a:round/>
            <a:headEnd/>
            <a:tailEnd/>
          </a:ln>
          <a:effectLst/>
        </p:spPr>
        <p:txBody>
          <a:bodyPr/>
          <a:lstStyle/>
          <a:p>
            <a:pPr defTabSz="913943">
              <a:defRPr/>
            </a:pPr>
            <a:endParaRPr lang="de-DE" sz="1799" kern="0">
              <a:solidFill>
                <a:sysClr val="windowText" lastClr="000000"/>
              </a:solidFill>
            </a:endParaRPr>
          </a:p>
        </p:txBody>
      </p:sp>
      <p:sp>
        <p:nvSpPr>
          <p:cNvPr id="29" name="Text Box 9"/>
          <p:cNvSpPr txBox="1">
            <a:spLocks noChangeArrowheads="1"/>
          </p:cNvSpPr>
          <p:nvPr/>
        </p:nvSpPr>
        <p:spPr bwMode="auto">
          <a:xfrm>
            <a:off x="4418149" y="2644576"/>
            <a:ext cx="1322109" cy="338378"/>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sp>
        <p:nvSpPr>
          <p:cNvPr id="30" name="Text Box 10"/>
          <p:cNvSpPr txBox="1">
            <a:spLocks noChangeArrowheads="1"/>
          </p:cNvSpPr>
          <p:nvPr/>
        </p:nvSpPr>
        <p:spPr bwMode="auto">
          <a:xfrm rot="2553293">
            <a:off x="4154442" y="4799411"/>
            <a:ext cx="1322109" cy="338378"/>
          </a:xfrm>
          <a:prstGeom prst="rect">
            <a:avLst/>
          </a:prstGeom>
          <a:noFill/>
          <a:ln w="9525">
            <a:noFill/>
            <a:miter lim="800000"/>
            <a:headEnd/>
            <a:tailEnd/>
          </a:ln>
          <a:effectLst/>
        </p:spPr>
        <p:txBody>
          <a:bodyPr wrap="none">
            <a:spAutoFit/>
          </a:bodyPr>
          <a:lstStyle/>
          <a:p>
            <a:pPr defTabSz="913943">
              <a:defRPr/>
            </a:pPr>
            <a:r>
              <a:rPr lang="en-US" sz="1599" kern="0" dirty="0">
                <a:solidFill>
                  <a:srgbClr val="336699"/>
                </a:solidFill>
              </a:rPr>
              <a:t>Stability limit</a:t>
            </a:r>
          </a:p>
        </p:txBody>
      </p:sp>
      <p:sp>
        <p:nvSpPr>
          <p:cNvPr id="31" name="Text Box 11"/>
          <p:cNvSpPr txBox="1">
            <a:spLocks noChangeArrowheads="1"/>
          </p:cNvSpPr>
          <p:nvPr/>
        </p:nvSpPr>
        <p:spPr bwMode="auto">
          <a:xfrm>
            <a:off x="521486" y="2338957"/>
            <a:ext cx="1213162" cy="307617"/>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RE-EVENT</a:t>
            </a:r>
            <a:endParaRPr lang="en-US" sz="1399" kern="0" dirty="0">
              <a:solidFill>
                <a:srgbClr val="949EAA"/>
              </a:solidFill>
            </a:endParaRPr>
          </a:p>
        </p:txBody>
      </p:sp>
      <p:sp>
        <p:nvSpPr>
          <p:cNvPr id="39" name="Oval 19"/>
          <p:cNvSpPr>
            <a:spLocks noChangeArrowheads="1"/>
          </p:cNvSpPr>
          <p:nvPr/>
        </p:nvSpPr>
        <p:spPr bwMode="auto">
          <a:xfrm>
            <a:off x="1385167" y="2664752"/>
            <a:ext cx="117414" cy="123761"/>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nvGrpSpPr>
          <p:cNvPr id="3" name="Group 20"/>
          <p:cNvGrpSpPr>
            <a:grpSpLocks/>
          </p:cNvGrpSpPr>
          <p:nvPr/>
        </p:nvGrpSpPr>
        <p:grpSpPr bwMode="auto">
          <a:xfrm>
            <a:off x="4438060" y="3150725"/>
            <a:ext cx="1331615" cy="519123"/>
            <a:chOff x="1322" y="1114"/>
            <a:chExt cx="1119" cy="365"/>
          </a:xfrm>
        </p:grpSpPr>
        <p:sp>
          <p:nvSpPr>
            <p:cNvPr id="41" name="Text Box 21"/>
            <p:cNvSpPr txBox="1">
              <a:spLocks noChangeArrowheads="1"/>
            </p:cNvSpPr>
            <p:nvPr/>
          </p:nvSpPr>
          <p:spPr bwMode="auto">
            <a:xfrm>
              <a:off x="1322" y="1114"/>
              <a:ext cx="1119" cy="216"/>
            </a:xfrm>
            <a:prstGeom prst="rect">
              <a:avLst/>
            </a:prstGeom>
            <a:noFill/>
            <a:ln w="9525">
              <a:noFill/>
              <a:miter lim="800000"/>
              <a:headEnd/>
              <a:tailEnd/>
            </a:ln>
            <a:effectLst/>
          </p:spPr>
          <p:txBody>
            <a:bodyPr wrap="none">
              <a:spAutoFit/>
            </a:bodyPr>
            <a:lstStyle/>
            <a:p>
              <a:pPr defTabSz="913943">
                <a:defRPr/>
              </a:pPr>
              <a:r>
                <a:rPr lang="de-DE" sz="1399" kern="0" dirty="0">
                  <a:solidFill>
                    <a:srgbClr val="949EAA"/>
                  </a:solidFill>
                </a:rPr>
                <a:t>POST-EVENT</a:t>
              </a:r>
              <a:endParaRPr lang="en-US" sz="1399" kern="0" dirty="0">
                <a:solidFill>
                  <a:srgbClr val="949EAA"/>
                </a:solidFill>
              </a:endParaRPr>
            </a:p>
          </p:txBody>
        </p:sp>
        <p:sp>
          <p:nvSpPr>
            <p:cNvPr id="42" name="Oval 22"/>
            <p:cNvSpPr>
              <a:spLocks noChangeArrowheads="1"/>
            </p:cNvSpPr>
            <p:nvPr/>
          </p:nvSpPr>
          <p:spPr bwMode="auto">
            <a:xfrm>
              <a:off x="1977" y="1389"/>
              <a:ext cx="91" cy="90"/>
            </a:xfrm>
            <a:prstGeom prst="ellipse">
              <a:avLst/>
            </a:prstGeom>
            <a:solidFill>
              <a:srgbClr val="AFB4BE"/>
            </a:solidFill>
            <a:ln w="9525">
              <a:solidFill>
                <a:srgbClr val="000000"/>
              </a:solidFill>
              <a:round/>
              <a:headEnd/>
              <a:tailEnd/>
            </a:ln>
            <a:effectLst/>
          </p:spPr>
          <p:txBody>
            <a:bodyPr wrap="none" anchor="ctr"/>
            <a:lstStyle/>
            <a:p>
              <a:pPr defTabSz="913943">
                <a:defRPr/>
              </a:pPr>
              <a:endParaRPr lang="de-DE" sz="1799" kern="0">
                <a:solidFill>
                  <a:sysClr val="windowText" lastClr="000000"/>
                </a:solidFill>
              </a:endParaRPr>
            </a:p>
          </p:txBody>
        </p:sp>
      </p:grpSp>
      <p:grpSp>
        <p:nvGrpSpPr>
          <p:cNvPr id="4" name="Gruppieren 48"/>
          <p:cNvGrpSpPr/>
          <p:nvPr/>
        </p:nvGrpSpPr>
        <p:grpSpPr>
          <a:xfrm>
            <a:off x="5356260" y="2819835"/>
            <a:ext cx="1579698" cy="2719680"/>
            <a:chOff x="7624763" y="2750987"/>
            <a:chExt cx="1580521" cy="2721096"/>
          </a:xfrm>
        </p:grpSpPr>
        <p:grpSp>
          <p:nvGrpSpPr>
            <p:cNvPr id="5" name="Gruppieren 46"/>
            <p:cNvGrpSpPr/>
            <p:nvPr/>
          </p:nvGrpSpPr>
          <p:grpSpPr>
            <a:xfrm>
              <a:off x="7624763" y="2750987"/>
              <a:ext cx="1580521" cy="2721096"/>
              <a:chOff x="7681913" y="2820837"/>
              <a:chExt cx="1580521" cy="2721096"/>
            </a:xfrm>
          </p:grpSpPr>
          <p:sp>
            <p:nvSpPr>
              <p:cNvPr id="167940" name="Rectangle 4" descr="Diagonal weit nach oben"/>
              <p:cNvSpPr>
                <a:spLocks noChangeArrowheads="1"/>
              </p:cNvSpPr>
              <p:nvPr/>
            </p:nvSpPr>
            <p:spPr bwMode="auto">
              <a:xfrm rot="16822600">
                <a:off x="7271709" y="3551208"/>
                <a:ext cx="2628900" cy="1352550"/>
              </a:xfrm>
              <a:prstGeom prst="rect">
                <a:avLst/>
              </a:prstGeom>
              <a:pattFill prst="wdUpDiag">
                <a:fgClr>
                  <a:srgbClr val="000000"/>
                </a:fgClr>
                <a:bgClr>
                  <a:srgbClr val="D8D8D8"/>
                </a:bgClr>
              </a:pattFill>
              <a:ln w="9525">
                <a:noFill/>
                <a:miter lim="800000"/>
                <a:headEnd/>
                <a:tailEnd/>
              </a:ln>
            </p:spPr>
            <p:txBody>
              <a:bodyPr vert="horz" wrap="square" lIns="91392" tIns="45696" rIns="91392" bIns="45696" numCol="1" anchor="t" anchorCtr="0" compatLnSpc="1">
                <a:prstTxWarp prst="textNoShape">
                  <a:avLst/>
                </a:prstTxWarp>
              </a:bodyPr>
              <a:lstStyle/>
              <a:p>
                <a:endParaRPr lang="de-DE" sz="1799" dirty="0"/>
              </a:p>
            </p:txBody>
          </p:sp>
          <p:cxnSp>
            <p:nvCxnSpPr>
              <p:cNvPr id="36" name="Gerade Verbindung 35"/>
              <p:cNvCxnSpPr/>
              <p:nvPr/>
            </p:nvCxnSpPr>
            <p:spPr bwMode="auto">
              <a:xfrm flipH="1">
                <a:off x="7681913" y="2820837"/>
                <a:ext cx="478677" cy="2584601"/>
              </a:xfrm>
              <a:prstGeom prst="line">
                <a:avLst/>
              </a:prstGeom>
              <a:solidFill>
                <a:schemeClr val="tx2"/>
              </a:solidFill>
              <a:ln w="1905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cxnSp>
        </p:grpSp>
        <p:sp>
          <p:nvSpPr>
            <p:cNvPr id="48" name="Textfeld 47"/>
            <p:cNvSpPr txBox="1"/>
            <p:nvPr/>
          </p:nvSpPr>
          <p:spPr>
            <a:xfrm>
              <a:off x="8126069" y="3886200"/>
              <a:ext cx="751809" cy="492443"/>
            </a:xfrm>
            <a:prstGeom prst="rect">
              <a:avLst/>
            </a:prstGeom>
            <a:solidFill>
              <a:schemeClr val="bg1">
                <a:lumMod val="85000"/>
              </a:schemeClr>
            </a:solidFill>
          </p:spPr>
          <p:txBody>
            <a:bodyPr wrap="none" lIns="0" tIns="0" rIns="0" bIns="0" rtlCol="0">
              <a:spAutoFit/>
            </a:bodyPr>
            <a:lstStyle/>
            <a:p>
              <a:pPr algn="ctr"/>
              <a:r>
                <a:rPr lang="en-US" sz="1599" dirty="0"/>
                <a:t>Thermal</a:t>
              </a:r>
            </a:p>
            <a:p>
              <a:pPr algn="ctr"/>
              <a:r>
                <a:rPr lang="en-US" sz="1599" dirty="0"/>
                <a:t>limit</a:t>
              </a:r>
            </a:p>
          </p:txBody>
        </p:sp>
      </p:grpSp>
      <p:sp>
        <p:nvSpPr>
          <p:cNvPr id="37" name="Freihandform 36"/>
          <p:cNvSpPr/>
          <p:nvPr/>
        </p:nvSpPr>
        <p:spPr bwMode="auto">
          <a:xfrm>
            <a:off x="3198734" y="3074378"/>
            <a:ext cx="854926" cy="292742"/>
          </a:xfrm>
          <a:custGeom>
            <a:avLst/>
            <a:gdLst>
              <a:gd name="connsiteX0" fmla="*/ 0 w 855371"/>
              <a:gd name="connsiteY0" fmla="*/ 0 h 292894"/>
              <a:gd name="connsiteX1" fmla="*/ 7144 w 855371"/>
              <a:gd name="connsiteY1" fmla="*/ 2381 h 292894"/>
              <a:gd name="connsiteX2" fmla="*/ 9525 w 855371"/>
              <a:gd name="connsiteY2" fmla="*/ 9525 h 292894"/>
              <a:gd name="connsiteX3" fmla="*/ 14288 w 855371"/>
              <a:gd name="connsiteY3" fmla="*/ 16669 h 292894"/>
              <a:gd name="connsiteX4" fmla="*/ 21431 w 855371"/>
              <a:gd name="connsiteY4" fmla="*/ 38100 h 292894"/>
              <a:gd name="connsiteX5" fmla="*/ 23813 w 855371"/>
              <a:gd name="connsiteY5" fmla="*/ 45244 h 292894"/>
              <a:gd name="connsiteX6" fmla="*/ 26194 w 855371"/>
              <a:gd name="connsiteY6" fmla="*/ 57150 h 292894"/>
              <a:gd name="connsiteX7" fmla="*/ 30956 w 855371"/>
              <a:gd name="connsiteY7" fmla="*/ 71437 h 292894"/>
              <a:gd name="connsiteX8" fmla="*/ 33338 w 855371"/>
              <a:gd name="connsiteY8" fmla="*/ 85725 h 292894"/>
              <a:gd name="connsiteX9" fmla="*/ 38100 w 855371"/>
              <a:gd name="connsiteY9" fmla="*/ 100012 h 292894"/>
              <a:gd name="connsiteX10" fmla="*/ 40481 w 855371"/>
              <a:gd name="connsiteY10" fmla="*/ 107156 h 292894"/>
              <a:gd name="connsiteX11" fmla="*/ 45244 w 855371"/>
              <a:gd name="connsiteY11" fmla="*/ 121444 h 292894"/>
              <a:gd name="connsiteX12" fmla="*/ 47625 w 855371"/>
              <a:gd name="connsiteY12" fmla="*/ 128587 h 292894"/>
              <a:gd name="connsiteX13" fmla="*/ 52388 w 855371"/>
              <a:gd name="connsiteY13" fmla="*/ 135731 h 292894"/>
              <a:gd name="connsiteX14" fmla="*/ 57150 w 855371"/>
              <a:gd name="connsiteY14" fmla="*/ 152400 h 292894"/>
              <a:gd name="connsiteX15" fmla="*/ 61913 w 855371"/>
              <a:gd name="connsiteY15" fmla="*/ 159544 h 292894"/>
              <a:gd name="connsiteX16" fmla="*/ 64294 w 855371"/>
              <a:gd name="connsiteY16" fmla="*/ 166687 h 292894"/>
              <a:gd name="connsiteX17" fmla="*/ 73819 w 855371"/>
              <a:gd name="connsiteY17" fmla="*/ 180975 h 292894"/>
              <a:gd name="connsiteX18" fmla="*/ 85725 w 855371"/>
              <a:gd name="connsiteY18" fmla="*/ 197644 h 292894"/>
              <a:gd name="connsiteX19" fmla="*/ 97631 w 855371"/>
              <a:gd name="connsiteY19" fmla="*/ 214312 h 292894"/>
              <a:gd name="connsiteX20" fmla="*/ 114300 w 855371"/>
              <a:gd name="connsiteY20" fmla="*/ 230981 h 292894"/>
              <a:gd name="connsiteX21" fmla="*/ 128588 w 855371"/>
              <a:gd name="connsiteY21" fmla="*/ 240506 h 292894"/>
              <a:gd name="connsiteX22" fmla="*/ 133350 w 855371"/>
              <a:gd name="connsiteY22" fmla="*/ 247650 h 292894"/>
              <a:gd name="connsiteX23" fmla="*/ 147638 w 855371"/>
              <a:gd name="connsiteY23" fmla="*/ 252412 h 292894"/>
              <a:gd name="connsiteX24" fmla="*/ 154781 w 855371"/>
              <a:gd name="connsiteY24" fmla="*/ 257175 h 292894"/>
              <a:gd name="connsiteX25" fmla="*/ 159544 w 855371"/>
              <a:gd name="connsiteY25" fmla="*/ 264319 h 292894"/>
              <a:gd name="connsiteX26" fmla="*/ 166688 w 855371"/>
              <a:gd name="connsiteY26" fmla="*/ 266700 h 292894"/>
              <a:gd name="connsiteX27" fmla="*/ 180975 w 855371"/>
              <a:gd name="connsiteY27" fmla="*/ 273844 h 292894"/>
              <a:gd name="connsiteX28" fmla="*/ 188119 w 855371"/>
              <a:gd name="connsiteY28" fmla="*/ 278606 h 292894"/>
              <a:gd name="connsiteX29" fmla="*/ 202406 w 855371"/>
              <a:gd name="connsiteY29" fmla="*/ 283369 h 292894"/>
              <a:gd name="connsiteX30" fmla="*/ 209550 w 855371"/>
              <a:gd name="connsiteY30" fmla="*/ 288131 h 292894"/>
              <a:gd name="connsiteX31" fmla="*/ 226219 w 855371"/>
              <a:gd name="connsiteY31" fmla="*/ 292894 h 292894"/>
              <a:gd name="connsiteX32" fmla="*/ 278606 w 855371"/>
              <a:gd name="connsiteY32" fmla="*/ 290512 h 292894"/>
              <a:gd name="connsiteX33" fmla="*/ 285750 w 855371"/>
              <a:gd name="connsiteY33" fmla="*/ 288131 h 292894"/>
              <a:gd name="connsiteX34" fmla="*/ 319088 w 855371"/>
              <a:gd name="connsiteY34" fmla="*/ 278606 h 292894"/>
              <a:gd name="connsiteX35" fmla="*/ 340519 w 855371"/>
              <a:gd name="connsiteY35" fmla="*/ 271462 h 292894"/>
              <a:gd name="connsiteX36" fmla="*/ 347663 w 855371"/>
              <a:gd name="connsiteY36" fmla="*/ 269081 h 292894"/>
              <a:gd name="connsiteX37" fmla="*/ 354806 w 855371"/>
              <a:gd name="connsiteY37" fmla="*/ 266700 h 292894"/>
              <a:gd name="connsiteX38" fmla="*/ 369094 w 855371"/>
              <a:gd name="connsiteY38" fmla="*/ 259556 h 292894"/>
              <a:gd name="connsiteX39" fmla="*/ 376238 w 855371"/>
              <a:gd name="connsiteY39" fmla="*/ 254794 h 292894"/>
              <a:gd name="connsiteX40" fmla="*/ 383381 w 855371"/>
              <a:gd name="connsiteY40" fmla="*/ 252412 h 292894"/>
              <a:gd name="connsiteX41" fmla="*/ 390525 w 855371"/>
              <a:gd name="connsiteY41" fmla="*/ 247650 h 292894"/>
              <a:gd name="connsiteX42" fmla="*/ 404813 w 855371"/>
              <a:gd name="connsiteY42" fmla="*/ 242887 h 292894"/>
              <a:gd name="connsiteX43" fmla="*/ 411956 w 855371"/>
              <a:gd name="connsiteY43" fmla="*/ 238125 h 292894"/>
              <a:gd name="connsiteX44" fmla="*/ 426244 w 855371"/>
              <a:gd name="connsiteY44" fmla="*/ 233362 h 292894"/>
              <a:gd name="connsiteX45" fmla="*/ 440531 w 855371"/>
              <a:gd name="connsiteY45" fmla="*/ 226219 h 292894"/>
              <a:gd name="connsiteX46" fmla="*/ 461963 w 855371"/>
              <a:gd name="connsiteY46" fmla="*/ 216694 h 292894"/>
              <a:gd name="connsiteX47" fmla="*/ 469106 w 855371"/>
              <a:gd name="connsiteY47" fmla="*/ 214312 h 292894"/>
              <a:gd name="connsiteX48" fmla="*/ 490538 w 855371"/>
              <a:gd name="connsiteY48" fmla="*/ 202406 h 292894"/>
              <a:gd name="connsiteX49" fmla="*/ 497681 w 855371"/>
              <a:gd name="connsiteY49" fmla="*/ 197644 h 292894"/>
              <a:gd name="connsiteX50" fmla="*/ 519113 w 855371"/>
              <a:gd name="connsiteY50" fmla="*/ 190500 h 292894"/>
              <a:gd name="connsiteX51" fmla="*/ 547688 w 855371"/>
              <a:gd name="connsiteY51" fmla="*/ 180975 h 292894"/>
              <a:gd name="connsiteX52" fmla="*/ 561975 w 855371"/>
              <a:gd name="connsiteY52" fmla="*/ 176212 h 292894"/>
              <a:gd name="connsiteX53" fmla="*/ 569119 w 855371"/>
              <a:gd name="connsiteY53" fmla="*/ 173831 h 292894"/>
              <a:gd name="connsiteX54" fmla="*/ 583406 w 855371"/>
              <a:gd name="connsiteY54" fmla="*/ 166687 h 292894"/>
              <a:gd name="connsiteX55" fmla="*/ 595313 w 855371"/>
              <a:gd name="connsiteY55" fmla="*/ 164306 h 292894"/>
              <a:gd name="connsiteX56" fmla="*/ 602456 w 855371"/>
              <a:gd name="connsiteY56" fmla="*/ 161925 h 292894"/>
              <a:gd name="connsiteX57" fmla="*/ 626269 w 855371"/>
              <a:gd name="connsiteY57" fmla="*/ 157162 h 292894"/>
              <a:gd name="connsiteX58" fmla="*/ 638175 w 855371"/>
              <a:gd name="connsiteY58" fmla="*/ 154781 h 292894"/>
              <a:gd name="connsiteX59" fmla="*/ 676275 w 855371"/>
              <a:gd name="connsiteY59" fmla="*/ 150019 h 292894"/>
              <a:gd name="connsiteX60" fmla="*/ 714375 w 855371"/>
              <a:gd name="connsiteY60" fmla="*/ 152400 h 292894"/>
              <a:gd name="connsiteX61" fmla="*/ 721519 w 855371"/>
              <a:gd name="connsiteY61" fmla="*/ 154781 h 292894"/>
              <a:gd name="connsiteX62" fmla="*/ 745331 w 855371"/>
              <a:gd name="connsiteY62" fmla="*/ 159544 h 292894"/>
              <a:gd name="connsiteX63" fmla="*/ 757238 w 855371"/>
              <a:gd name="connsiteY63" fmla="*/ 161925 h 292894"/>
              <a:gd name="connsiteX64" fmla="*/ 776288 w 855371"/>
              <a:gd name="connsiteY64" fmla="*/ 164306 h 292894"/>
              <a:gd name="connsiteX65" fmla="*/ 785813 w 855371"/>
              <a:gd name="connsiteY65" fmla="*/ 169069 h 292894"/>
              <a:gd name="connsiteX66" fmla="*/ 800100 w 855371"/>
              <a:gd name="connsiteY66" fmla="*/ 173831 h 292894"/>
              <a:gd name="connsiteX67" fmla="*/ 807244 w 855371"/>
              <a:gd name="connsiteY67" fmla="*/ 178594 h 292894"/>
              <a:gd name="connsiteX68" fmla="*/ 814388 w 855371"/>
              <a:gd name="connsiteY68" fmla="*/ 180975 h 292894"/>
              <a:gd name="connsiteX69" fmla="*/ 821531 w 855371"/>
              <a:gd name="connsiteY69" fmla="*/ 195262 h 292894"/>
              <a:gd name="connsiteX70" fmla="*/ 828675 w 855371"/>
              <a:gd name="connsiteY70" fmla="*/ 200025 h 292894"/>
              <a:gd name="connsiteX71" fmla="*/ 835819 w 855371"/>
              <a:gd name="connsiteY71" fmla="*/ 214312 h 292894"/>
              <a:gd name="connsiteX72" fmla="*/ 842963 w 855371"/>
              <a:gd name="connsiteY72" fmla="*/ 216694 h 292894"/>
              <a:gd name="connsiteX73" fmla="*/ 852488 w 855371"/>
              <a:gd name="connsiteY73" fmla="*/ 228600 h 292894"/>
              <a:gd name="connsiteX74" fmla="*/ 854869 w 855371"/>
              <a:gd name="connsiteY74" fmla="*/ 240506 h 29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855371" h="292894">
                <a:moveTo>
                  <a:pt x="0" y="0"/>
                </a:moveTo>
                <a:cubicBezTo>
                  <a:pt x="2381" y="794"/>
                  <a:pt x="5369" y="606"/>
                  <a:pt x="7144" y="2381"/>
                </a:cubicBezTo>
                <a:cubicBezTo>
                  <a:pt x="8919" y="4156"/>
                  <a:pt x="8402" y="7280"/>
                  <a:pt x="9525" y="9525"/>
                </a:cubicBezTo>
                <a:cubicBezTo>
                  <a:pt x="10805" y="12085"/>
                  <a:pt x="12700" y="14288"/>
                  <a:pt x="14288" y="16669"/>
                </a:cubicBezTo>
                <a:lnTo>
                  <a:pt x="21431" y="38100"/>
                </a:lnTo>
                <a:cubicBezTo>
                  <a:pt x="22225" y="40481"/>
                  <a:pt x="23321" y="42783"/>
                  <a:pt x="23813" y="45244"/>
                </a:cubicBezTo>
                <a:cubicBezTo>
                  <a:pt x="24607" y="49213"/>
                  <a:pt x="25129" y="53245"/>
                  <a:pt x="26194" y="57150"/>
                </a:cubicBezTo>
                <a:cubicBezTo>
                  <a:pt x="27515" y="61993"/>
                  <a:pt x="30131" y="66485"/>
                  <a:pt x="30956" y="71437"/>
                </a:cubicBezTo>
                <a:cubicBezTo>
                  <a:pt x="31750" y="76200"/>
                  <a:pt x="32167" y="81041"/>
                  <a:pt x="33338" y="85725"/>
                </a:cubicBezTo>
                <a:cubicBezTo>
                  <a:pt x="34556" y="90595"/>
                  <a:pt x="36513" y="95250"/>
                  <a:pt x="38100" y="100012"/>
                </a:cubicBezTo>
                <a:lnTo>
                  <a:pt x="40481" y="107156"/>
                </a:lnTo>
                <a:lnTo>
                  <a:pt x="45244" y="121444"/>
                </a:lnTo>
                <a:cubicBezTo>
                  <a:pt x="46038" y="123825"/>
                  <a:pt x="46233" y="126499"/>
                  <a:pt x="47625" y="128587"/>
                </a:cubicBezTo>
                <a:lnTo>
                  <a:pt x="52388" y="135731"/>
                </a:lnTo>
                <a:cubicBezTo>
                  <a:pt x="53151" y="138781"/>
                  <a:pt x="55442" y="148985"/>
                  <a:pt x="57150" y="152400"/>
                </a:cubicBezTo>
                <a:cubicBezTo>
                  <a:pt x="58430" y="154960"/>
                  <a:pt x="60325" y="157163"/>
                  <a:pt x="61913" y="159544"/>
                </a:cubicBezTo>
                <a:cubicBezTo>
                  <a:pt x="62707" y="161925"/>
                  <a:pt x="63075" y="164493"/>
                  <a:pt x="64294" y="166687"/>
                </a:cubicBezTo>
                <a:cubicBezTo>
                  <a:pt x="67074" y="171691"/>
                  <a:pt x="73819" y="180975"/>
                  <a:pt x="73819" y="180975"/>
                </a:cubicBezTo>
                <a:cubicBezTo>
                  <a:pt x="79375" y="197643"/>
                  <a:pt x="73819" y="193674"/>
                  <a:pt x="85725" y="197644"/>
                </a:cubicBezTo>
                <a:cubicBezTo>
                  <a:pt x="91282" y="214312"/>
                  <a:pt x="85726" y="210344"/>
                  <a:pt x="97631" y="214312"/>
                </a:cubicBezTo>
                <a:cubicBezTo>
                  <a:pt x="108548" y="230689"/>
                  <a:pt x="101726" y="226790"/>
                  <a:pt x="114300" y="230981"/>
                </a:cubicBezTo>
                <a:cubicBezTo>
                  <a:pt x="119063" y="234156"/>
                  <a:pt x="125413" y="235743"/>
                  <a:pt x="128588" y="240506"/>
                </a:cubicBezTo>
                <a:cubicBezTo>
                  <a:pt x="130175" y="242887"/>
                  <a:pt x="130923" y="246133"/>
                  <a:pt x="133350" y="247650"/>
                </a:cubicBezTo>
                <a:cubicBezTo>
                  <a:pt x="137607" y="250311"/>
                  <a:pt x="147638" y="252412"/>
                  <a:pt x="147638" y="252412"/>
                </a:cubicBezTo>
                <a:cubicBezTo>
                  <a:pt x="150019" y="254000"/>
                  <a:pt x="152757" y="255151"/>
                  <a:pt x="154781" y="257175"/>
                </a:cubicBezTo>
                <a:cubicBezTo>
                  <a:pt x="156805" y="259199"/>
                  <a:pt x="157309" y="262531"/>
                  <a:pt x="159544" y="264319"/>
                </a:cubicBezTo>
                <a:cubicBezTo>
                  <a:pt x="161504" y="265887"/>
                  <a:pt x="164307" y="265906"/>
                  <a:pt x="166688" y="266700"/>
                </a:cubicBezTo>
                <a:cubicBezTo>
                  <a:pt x="187152" y="280343"/>
                  <a:pt x="161263" y="263988"/>
                  <a:pt x="180975" y="273844"/>
                </a:cubicBezTo>
                <a:cubicBezTo>
                  <a:pt x="183535" y="275124"/>
                  <a:pt x="185504" y="277444"/>
                  <a:pt x="188119" y="278606"/>
                </a:cubicBezTo>
                <a:cubicBezTo>
                  <a:pt x="192706" y="280645"/>
                  <a:pt x="198229" y="280585"/>
                  <a:pt x="202406" y="283369"/>
                </a:cubicBezTo>
                <a:cubicBezTo>
                  <a:pt x="204787" y="284956"/>
                  <a:pt x="206990" y="286851"/>
                  <a:pt x="209550" y="288131"/>
                </a:cubicBezTo>
                <a:cubicBezTo>
                  <a:pt x="212963" y="289837"/>
                  <a:pt x="223172" y="292132"/>
                  <a:pt x="226219" y="292894"/>
                </a:cubicBezTo>
                <a:cubicBezTo>
                  <a:pt x="243681" y="292100"/>
                  <a:pt x="261181" y="291906"/>
                  <a:pt x="278606" y="290512"/>
                </a:cubicBezTo>
                <a:cubicBezTo>
                  <a:pt x="281108" y="290312"/>
                  <a:pt x="283328" y="288791"/>
                  <a:pt x="285750" y="288131"/>
                </a:cubicBezTo>
                <a:cubicBezTo>
                  <a:pt x="318635" y="279163"/>
                  <a:pt x="291715" y="287731"/>
                  <a:pt x="319088" y="278606"/>
                </a:cubicBezTo>
                <a:lnTo>
                  <a:pt x="340519" y="271462"/>
                </a:lnTo>
                <a:lnTo>
                  <a:pt x="347663" y="269081"/>
                </a:lnTo>
                <a:lnTo>
                  <a:pt x="354806" y="266700"/>
                </a:lnTo>
                <a:cubicBezTo>
                  <a:pt x="375271" y="253056"/>
                  <a:pt x="349384" y="269410"/>
                  <a:pt x="369094" y="259556"/>
                </a:cubicBezTo>
                <a:cubicBezTo>
                  <a:pt x="371654" y="258276"/>
                  <a:pt x="373678" y="256074"/>
                  <a:pt x="376238" y="254794"/>
                </a:cubicBezTo>
                <a:cubicBezTo>
                  <a:pt x="378483" y="253671"/>
                  <a:pt x="381136" y="253535"/>
                  <a:pt x="383381" y="252412"/>
                </a:cubicBezTo>
                <a:cubicBezTo>
                  <a:pt x="385941" y="251132"/>
                  <a:pt x="387910" y="248812"/>
                  <a:pt x="390525" y="247650"/>
                </a:cubicBezTo>
                <a:cubicBezTo>
                  <a:pt x="395113" y="245611"/>
                  <a:pt x="400636" y="245672"/>
                  <a:pt x="404813" y="242887"/>
                </a:cubicBezTo>
                <a:cubicBezTo>
                  <a:pt x="407194" y="241300"/>
                  <a:pt x="409341" y="239287"/>
                  <a:pt x="411956" y="238125"/>
                </a:cubicBezTo>
                <a:cubicBezTo>
                  <a:pt x="416544" y="236086"/>
                  <a:pt x="422067" y="236147"/>
                  <a:pt x="426244" y="233362"/>
                </a:cubicBezTo>
                <a:cubicBezTo>
                  <a:pt x="435476" y="227208"/>
                  <a:pt x="430673" y="229505"/>
                  <a:pt x="440531" y="226219"/>
                </a:cubicBezTo>
                <a:cubicBezTo>
                  <a:pt x="451854" y="218670"/>
                  <a:pt x="444957" y="222363"/>
                  <a:pt x="461963" y="216694"/>
                </a:cubicBezTo>
                <a:cubicBezTo>
                  <a:pt x="464344" y="215900"/>
                  <a:pt x="467018" y="215704"/>
                  <a:pt x="469106" y="214312"/>
                </a:cubicBezTo>
                <a:cubicBezTo>
                  <a:pt x="485483" y="203395"/>
                  <a:pt x="477964" y="206597"/>
                  <a:pt x="490538" y="202406"/>
                </a:cubicBezTo>
                <a:cubicBezTo>
                  <a:pt x="492919" y="200819"/>
                  <a:pt x="495066" y="198806"/>
                  <a:pt x="497681" y="197644"/>
                </a:cubicBezTo>
                <a:cubicBezTo>
                  <a:pt x="497693" y="197639"/>
                  <a:pt x="515535" y="191693"/>
                  <a:pt x="519113" y="190500"/>
                </a:cubicBezTo>
                <a:lnTo>
                  <a:pt x="547688" y="180975"/>
                </a:lnTo>
                <a:lnTo>
                  <a:pt x="561975" y="176212"/>
                </a:lnTo>
                <a:cubicBezTo>
                  <a:pt x="564356" y="175418"/>
                  <a:pt x="567030" y="175223"/>
                  <a:pt x="569119" y="173831"/>
                </a:cubicBezTo>
                <a:cubicBezTo>
                  <a:pt x="576100" y="169178"/>
                  <a:pt x="575523" y="168658"/>
                  <a:pt x="583406" y="166687"/>
                </a:cubicBezTo>
                <a:cubicBezTo>
                  <a:pt x="587333" y="165705"/>
                  <a:pt x="591386" y="165288"/>
                  <a:pt x="595313" y="164306"/>
                </a:cubicBezTo>
                <a:cubicBezTo>
                  <a:pt x="597748" y="163697"/>
                  <a:pt x="600010" y="162489"/>
                  <a:pt x="602456" y="161925"/>
                </a:cubicBezTo>
                <a:cubicBezTo>
                  <a:pt x="610344" y="160105"/>
                  <a:pt x="618331" y="158750"/>
                  <a:pt x="626269" y="157162"/>
                </a:cubicBezTo>
                <a:cubicBezTo>
                  <a:pt x="630238" y="156368"/>
                  <a:pt x="634148" y="155184"/>
                  <a:pt x="638175" y="154781"/>
                </a:cubicBezTo>
                <a:cubicBezTo>
                  <a:pt x="666792" y="151920"/>
                  <a:pt x="654119" y="153711"/>
                  <a:pt x="676275" y="150019"/>
                </a:cubicBezTo>
                <a:cubicBezTo>
                  <a:pt x="688975" y="150813"/>
                  <a:pt x="701720" y="151068"/>
                  <a:pt x="714375" y="152400"/>
                </a:cubicBezTo>
                <a:cubicBezTo>
                  <a:pt x="716871" y="152663"/>
                  <a:pt x="719073" y="154217"/>
                  <a:pt x="721519" y="154781"/>
                </a:cubicBezTo>
                <a:cubicBezTo>
                  <a:pt x="729406" y="156601"/>
                  <a:pt x="737394" y="157956"/>
                  <a:pt x="745331" y="159544"/>
                </a:cubicBezTo>
                <a:cubicBezTo>
                  <a:pt x="749300" y="160338"/>
                  <a:pt x="753222" y="161423"/>
                  <a:pt x="757238" y="161925"/>
                </a:cubicBezTo>
                <a:lnTo>
                  <a:pt x="776288" y="164306"/>
                </a:lnTo>
                <a:cubicBezTo>
                  <a:pt x="779463" y="165894"/>
                  <a:pt x="782517" y="167751"/>
                  <a:pt x="785813" y="169069"/>
                </a:cubicBezTo>
                <a:cubicBezTo>
                  <a:pt x="790474" y="170933"/>
                  <a:pt x="800100" y="173831"/>
                  <a:pt x="800100" y="173831"/>
                </a:cubicBezTo>
                <a:cubicBezTo>
                  <a:pt x="802481" y="175419"/>
                  <a:pt x="804684" y="177314"/>
                  <a:pt x="807244" y="178594"/>
                </a:cubicBezTo>
                <a:cubicBezTo>
                  <a:pt x="809489" y="179717"/>
                  <a:pt x="812428" y="179407"/>
                  <a:pt x="814388" y="180975"/>
                </a:cubicBezTo>
                <a:cubicBezTo>
                  <a:pt x="825539" y="189896"/>
                  <a:pt x="813863" y="185677"/>
                  <a:pt x="821531" y="195262"/>
                </a:cubicBezTo>
                <a:cubicBezTo>
                  <a:pt x="823319" y="197497"/>
                  <a:pt x="826294" y="198437"/>
                  <a:pt x="828675" y="200025"/>
                </a:cubicBezTo>
                <a:cubicBezTo>
                  <a:pt x="830244" y="204733"/>
                  <a:pt x="831621" y="210954"/>
                  <a:pt x="835819" y="214312"/>
                </a:cubicBezTo>
                <a:cubicBezTo>
                  <a:pt x="837779" y="215880"/>
                  <a:pt x="840582" y="215900"/>
                  <a:pt x="842963" y="216694"/>
                </a:cubicBezTo>
                <a:cubicBezTo>
                  <a:pt x="848948" y="234649"/>
                  <a:pt x="840178" y="213212"/>
                  <a:pt x="852488" y="228600"/>
                </a:cubicBezTo>
                <a:cubicBezTo>
                  <a:pt x="855371" y="232204"/>
                  <a:pt x="854869" y="236425"/>
                  <a:pt x="854869" y="240506"/>
                </a:cubicBezTo>
              </a:path>
            </a:pathLst>
          </a:custGeom>
          <a:noFill/>
          <a:ln w="19050" cap="flat" cmpd="sng" algn="ctr">
            <a:solidFill>
              <a:schemeClr val="accent6">
                <a:lumMod val="60000"/>
                <a:lumOff val="4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rtlCol="0" anchor="ctr"/>
          <a:lstStyle/>
          <a:p>
            <a:pPr algn="ctr"/>
            <a:endParaRPr lang="de-DE" sz="1799"/>
          </a:p>
        </p:txBody>
      </p:sp>
      <p:sp>
        <p:nvSpPr>
          <p:cNvPr id="38" name="Pfeil nach rechts 37"/>
          <p:cNvSpPr/>
          <p:nvPr/>
        </p:nvSpPr>
        <p:spPr bwMode="auto">
          <a:xfrm rot="1088027">
            <a:off x="2327435" y="3360632"/>
            <a:ext cx="2140216" cy="1028830"/>
          </a:xfrm>
          <a:prstGeom prst="rightArrow">
            <a:avLst/>
          </a:prstGeom>
          <a:solidFill>
            <a:srgbClr val="00B050"/>
          </a:solidFill>
          <a:ln>
            <a:noFill/>
          </a:ln>
          <a:effectLst/>
        </p:spPr>
        <p:txBody>
          <a:bodyPr wrap="square" lIns="107944" tIns="53972" rIns="107944" bIns="53972" numCol="1" spcCol="72000" rtlCol="0" anchor="ctr">
            <a:noAutofit/>
          </a:bodyPr>
          <a:lstStyle/>
          <a:p>
            <a:pPr algn="ctr">
              <a:spcBef>
                <a:spcPct val="0"/>
              </a:spcBef>
              <a:buFont typeface="Wingdings" charset="0"/>
              <a:buNone/>
            </a:pPr>
            <a:r>
              <a:rPr lang="de-DE" sz="1199" b="1" dirty="0"/>
              <a:t>Fast Response</a:t>
            </a:r>
            <a:br>
              <a:rPr lang="de-DE" sz="1199" b="1" dirty="0"/>
            </a:br>
            <a:r>
              <a:rPr lang="de-DE" sz="1199" b="1" dirty="0"/>
              <a:t>WAMPAC</a:t>
            </a:r>
          </a:p>
        </p:txBody>
      </p:sp>
      <p:sp>
        <p:nvSpPr>
          <p:cNvPr id="43" name="Textfeld 42"/>
          <p:cNvSpPr txBox="1"/>
          <p:nvPr/>
        </p:nvSpPr>
        <p:spPr>
          <a:xfrm>
            <a:off x="7920675" y="1629713"/>
            <a:ext cx="4271325" cy="3647224"/>
          </a:xfrm>
          <a:prstGeom prst="rect">
            <a:avLst/>
          </a:prstGeom>
          <a:noFill/>
        </p:spPr>
        <p:txBody>
          <a:bodyPr wrap="square" lIns="0" tIns="0" rIns="0" bIns="0" rtlCol="0">
            <a:noAutofit/>
          </a:bodyPr>
          <a:lstStyle/>
          <a:p>
            <a:pPr>
              <a:lnSpc>
                <a:spcPct val="150000"/>
              </a:lnSpc>
            </a:pPr>
            <a:r>
              <a:rPr lang="en-US" sz="1999" dirty="0"/>
              <a:t>Fast Corrective actions if stability problem expected</a:t>
            </a:r>
          </a:p>
          <a:p>
            <a:pPr marL="266567" indent="-266567">
              <a:lnSpc>
                <a:spcPct val="150000"/>
              </a:lnSpc>
              <a:buFont typeface="Arial" pitchFamily="34" charset="0"/>
              <a:buChar char="•"/>
            </a:pPr>
            <a:r>
              <a:rPr lang="en-US" sz="1799" dirty="0"/>
              <a:t>Fix Special Protection Schemes SPS </a:t>
            </a:r>
          </a:p>
          <a:p>
            <a:pPr marL="266567" indent="-266567">
              <a:lnSpc>
                <a:spcPct val="150000"/>
              </a:lnSpc>
              <a:buFont typeface="Arial" pitchFamily="34" charset="0"/>
              <a:buChar char="•"/>
            </a:pPr>
            <a:r>
              <a:rPr lang="en-US" sz="1799" dirty="0"/>
              <a:t>FACTS</a:t>
            </a:r>
          </a:p>
          <a:p>
            <a:pPr marL="266567" indent="-266567">
              <a:lnSpc>
                <a:spcPct val="150000"/>
              </a:lnSpc>
              <a:buFont typeface="Arial" pitchFamily="34" charset="0"/>
              <a:buChar char="•"/>
            </a:pPr>
            <a:r>
              <a:rPr lang="en-US" sz="1799" dirty="0"/>
              <a:t>Adaptive SPS (Parameter)</a:t>
            </a:r>
          </a:p>
          <a:p>
            <a:pPr marL="266567" indent="-266567">
              <a:lnSpc>
                <a:spcPct val="150000"/>
              </a:lnSpc>
              <a:buFont typeface="Arial" pitchFamily="34" charset="0"/>
              <a:buChar char="•"/>
            </a:pPr>
            <a:r>
              <a:rPr lang="en-US" sz="1799" dirty="0"/>
              <a:t>SPS with communication and central coordination</a:t>
            </a:r>
          </a:p>
          <a:p>
            <a:pPr marL="266567" indent="-266567">
              <a:lnSpc>
                <a:spcPct val="150000"/>
              </a:lnSpc>
              <a:buFont typeface="Arial" pitchFamily="34" charset="0"/>
              <a:buChar char="•"/>
            </a:pPr>
            <a:r>
              <a:rPr lang="en-US" sz="1799" dirty="0"/>
              <a:t>HVDC control</a:t>
            </a:r>
          </a:p>
          <a:p>
            <a:pPr marL="266567" indent="-266567">
              <a:lnSpc>
                <a:spcPct val="150000"/>
              </a:lnSpc>
              <a:buFont typeface="Arial" pitchFamily="34" charset="0"/>
              <a:buChar char="•"/>
            </a:pPr>
            <a:endParaRPr lang="de-DE" sz="2399" dirty="0"/>
          </a:p>
        </p:txBody>
      </p:sp>
      <p:grpSp>
        <p:nvGrpSpPr>
          <p:cNvPr id="23" name="Group 22">
            <a:extLst>
              <a:ext uri="{FF2B5EF4-FFF2-40B4-BE49-F238E27FC236}">
                <a16:creationId xmlns:a16="http://schemas.microsoft.com/office/drawing/2014/main" id="{61A6B5E1-ABA0-4707-8787-7E38D90B6763}"/>
              </a:ext>
            </a:extLst>
          </p:cNvPr>
          <p:cNvGrpSpPr/>
          <p:nvPr/>
        </p:nvGrpSpPr>
        <p:grpSpPr>
          <a:xfrm>
            <a:off x="551495" y="3829856"/>
            <a:ext cx="2990445" cy="2405336"/>
            <a:chOff x="6593417" y="2514157"/>
            <a:chExt cx="4778044" cy="3728145"/>
          </a:xfrm>
        </p:grpSpPr>
        <p:pic>
          <p:nvPicPr>
            <p:cNvPr id="24" name="Picture 23">
              <a:extLst>
                <a:ext uri="{FF2B5EF4-FFF2-40B4-BE49-F238E27FC236}">
                  <a16:creationId xmlns:a16="http://schemas.microsoft.com/office/drawing/2014/main" id="{AC92B5E4-EE26-499E-B3AF-39CF2E755DB8}"/>
                </a:ext>
              </a:extLst>
            </p:cNvPr>
            <p:cNvPicPr>
              <a:picLocks noChangeAspect="1"/>
            </p:cNvPicPr>
            <p:nvPr/>
          </p:nvPicPr>
          <p:blipFill>
            <a:blip r:embed="rId2"/>
            <a:stretch>
              <a:fillRect/>
            </a:stretch>
          </p:blipFill>
          <p:spPr>
            <a:xfrm>
              <a:off x="7848295" y="4265086"/>
              <a:ext cx="2268288" cy="1977216"/>
            </a:xfrm>
            <a:prstGeom prst="rect">
              <a:avLst/>
            </a:prstGeom>
          </p:spPr>
        </p:pic>
        <p:grpSp>
          <p:nvGrpSpPr>
            <p:cNvPr id="32" name="Group 31">
              <a:extLst>
                <a:ext uri="{FF2B5EF4-FFF2-40B4-BE49-F238E27FC236}">
                  <a16:creationId xmlns:a16="http://schemas.microsoft.com/office/drawing/2014/main" id="{337098B7-0702-486B-A4E2-E2E54BBA3935}"/>
                </a:ext>
              </a:extLst>
            </p:cNvPr>
            <p:cNvGrpSpPr/>
            <p:nvPr/>
          </p:nvGrpSpPr>
          <p:grpSpPr>
            <a:xfrm>
              <a:off x="6593417" y="2514157"/>
              <a:ext cx="4778044" cy="1985481"/>
              <a:chOff x="6593417" y="2514157"/>
              <a:chExt cx="4778044" cy="1985481"/>
            </a:xfrm>
          </p:grpSpPr>
          <p:grpSp>
            <p:nvGrpSpPr>
              <p:cNvPr id="33" name="Group 32">
                <a:extLst>
                  <a:ext uri="{FF2B5EF4-FFF2-40B4-BE49-F238E27FC236}">
                    <a16:creationId xmlns:a16="http://schemas.microsoft.com/office/drawing/2014/main" id="{68E8380F-39CD-4585-BA35-64476905B160}"/>
                  </a:ext>
                </a:extLst>
              </p:cNvPr>
              <p:cNvGrpSpPr/>
              <p:nvPr/>
            </p:nvGrpSpPr>
            <p:grpSpPr>
              <a:xfrm>
                <a:off x="6593417" y="3059638"/>
                <a:ext cx="4778044" cy="1440000"/>
                <a:chOff x="6473386" y="3095239"/>
                <a:chExt cx="4778044" cy="1440000"/>
              </a:xfrm>
            </p:grpSpPr>
            <p:grpSp>
              <p:nvGrpSpPr>
                <p:cNvPr id="35" name="Group 34">
                  <a:extLst>
                    <a:ext uri="{FF2B5EF4-FFF2-40B4-BE49-F238E27FC236}">
                      <a16:creationId xmlns:a16="http://schemas.microsoft.com/office/drawing/2014/main" id="{A3E54B86-1D53-4925-846A-884C94079C24}"/>
                    </a:ext>
                  </a:extLst>
                </p:cNvPr>
                <p:cNvGrpSpPr/>
                <p:nvPr/>
              </p:nvGrpSpPr>
              <p:grpSpPr>
                <a:xfrm>
                  <a:off x="8173055" y="3451484"/>
                  <a:ext cx="207963" cy="533562"/>
                  <a:chOff x="4611855" y="2286000"/>
                  <a:chExt cx="207963" cy="533562"/>
                </a:xfrm>
              </p:grpSpPr>
              <p:sp>
                <p:nvSpPr>
                  <p:cNvPr id="45" name="Line 24">
                    <a:extLst>
                      <a:ext uri="{FF2B5EF4-FFF2-40B4-BE49-F238E27FC236}">
                        <a16:creationId xmlns:a16="http://schemas.microsoft.com/office/drawing/2014/main" id="{B2EEC340-5320-4F8C-98F0-B3FF212A19EC}"/>
                      </a:ext>
                    </a:extLst>
                  </p:cNvPr>
                  <p:cNvSpPr>
                    <a:spLocks noChangeShapeType="1"/>
                  </p:cNvSpPr>
                  <p:nvPr/>
                </p:nvSpPr>
                <p:spPr bwMode="auto">
                  <a:xfrm flipH="1">
                    <a:off x="4611855" y="2286000"/>
                    <a:ext cx="131345" cy="312083"/>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a:p>
                </p:txBody>
              </p:sp>
              <p:sp>
                <p:nvSpPr>
                  <p:cNvPr id="46" name="Line 25">
                    <a:extLst>
                      <a:ext uri="{FF2B5EF4-FFF2-40B4-BE49-F238E27FC236}">
                        <a16:creationId xmlns:a16="http://schemas.microsoft.com/office/drawing/2014/main" id="{EEFB2BFB-C8C0-4730-9CD7-258328553D45}"/>
                      </a:ext>
                    </a:extLst>
                  </p:cNvPr>
                  <p:cNvSpPr>
                    <a:spLocks noChangeShapeType="1"/>
                  </p:cNvSpPr>
                  <p:nvPr/>
                </p:nvSpPr>
                <p:spPr bwMode="auto">
                  <a:xfrm flipV="1">
                    <a:off x="4633746" y="2437008"/>
                    <a:ext cx="186072" cy="151008"/>
                  </a:xfrm>
                  <a:prstGeom prst="line">
                    <a:avLst/>
                  </a:prstGeom>
                  <a:noFill/>
                  <a:ln w="381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a:p>
                </p:txBody>
              </p:sp>
              <p:sp>
                <p:nvSpPr>
                  <p:cNvPr id="47" name="Line 26">
                    <a:extLst>
                      <a:ext uri="{FF2B5EF4-FFF2-40B4-BE49-F238E27FC236}">
                        <a16:creationId xmlns:a16="http://schemas.microsoft.com/office/drawing/2014/main" id="{CF5D936E-415B-4945-88D0-CAB7CA97391F}"/>
                      </a:ext>
                    </a:extLst>
                  </p:cNvPr>
                  <p:cNvSpPr>
                    <a:spLocks noChangeShapeType="1"/>
                  </p:cNvSpPr>
                  <p:nvPr/>
                </p:nvSpPr>
                <p:spPr bwMode="auto">
                  <a:xfrm flipH="1">
                    <a:off x="4621432" y="2447075"/>
                    <a:ext cx="198385" cy="372487"/>
                  </a:xfrm>
                  <a:prstGeom prst="line">
                    <a:avLst/>
                  </a:prstGeom>
                  <a:noFill/>
                  <a:ln w="381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799" dirty="0"/>
                  </a:p>
                </p:txBody>
              </p:sp>
            </p:grpSp>
            <p:pic>
              <p:nvPicPr>
                <p:cNvPr id="44" name="Picture 43">
                  <a:extLst>
                    <a:ext uri="{FF2B5EF4-FFF2-40B4-BE49-F238E27FC236}">
                      <a16:creationId xmlns:a16="http://schemas.microsoft.com/office/drawing/2014/main" id="{055FA474-718C-44F9-BED0-5A51B594F8B1}"/>
                    </a:ext>
                  </a:extLst>
                </p:cNvPr>
                <p:cNvPicPr>
                  <a:picLocks noChangeAspect="1"/>
                </p:cNvPicPr>
                <p:nvPr/>
              </p:nvPicPr>
              <p:blipFill>
                <a:blip r:embed="rId3"/>
                <a:stretch>
                  <a:fillRect/>
                </a:stretch>
              </p:blipFill>
              <p:spPr>
                <a:xfrm>
                  <a:off x="6473386" y="3095239"/>
                  <a:ext cx="4778044" cy="1440000"/>
                </a:xfrm>
                <a:prstGeom prst="rect">
                  <a:avLst/>
                </a:prstGeom>
              </p:spPr>
            </p:pic>
          </p:grpSp>
          <p:sp>
            <p:nvSpPr>
              <p:cNvPr id="34" name="TextBox 33">
                <a:extLst>
                  <a:ext uri="{FF2B5EF4-FFF2-40B4-BE49-F238E27FC236}">
                    <a16:creationId xmlns:a16="http://schemas.microsoft.com/office/drawing/2014/main" id="{7BA3FC09-10FF-4B1A-93B5-BE23AFA917AF}"/>
                  </a:ext>
                </a:extLst>
              </p:cNvPr>
              <p:cNvSpPr txBox="1"/>
              <p:nvPr/>
            </p:nvSpPr>
            <p:spPr>
              <a:xfrm>
                <a:off x="7714829" y="2514157"/>
                <a:ext cx="1507652" cy="314311"/>
              </a:xfrm>
              <a:prstGeom prst="rect">
                <a:avLst/>
              </a:prstGeom>
              <a:noFill/>
            </p:spPr>
            <p:txBody>
              <a:bodyPr wrap="none" lIns="0" tIns="0" rIns="0" bIns="0" rtlCol="0">
                <a:noAutofit/>
              </a:bodyPr>
              <a:lstStyle/>
              <a:p>
                <a:pPr>
                  <a:lnSpc>
                    <a:spcPct val="110000"/>
                  </a:lnSpc>
                </a:pPr>
                <a:r>
                  <a:rPr lang="en-US" sz="1199" dirty="0">
                    <a:solidFill>
                      <a:srgbClr val="004669"/>
                    </a:solidFill>
                    <a:ea typeface="Arial Unicode MS" panose="020B0604020202020204" pitchFamily="34" charset="-128"/>
                    <a:cs typeface="Arial Unicode MS" panose="020B0604020202020204" pitchFamily="34" charset="-128"/>
                  </a:rPr>
                  <a:t>CONTINGENCY 2</a:t>
                </a:r>
              </a:p>
              <a:p>
                <a:pPr>
                  <a:lnSpc>
                    <a:spcPct val="110000"/>
                  </a:lnSpc>
                </a:pPr>
                <a:r>
                  <a:rPr lang="en-US" sz="1199" dirty="0">
                    <a:solidFill>
                      <a:srgbClr val="004669"/>
                    </a:solidFill>
                    <a:ea typeface="Arial Unicode MS" panose="020B0604020202020204" pitchFamily="34" charset="-128"/>
                    <a:cs typeface="Arial Unicode MS" panose="020B0604020202020204" pitchFamily="34" charset="-128"/>
                  </a:rPr>
                  <a:t>FAULT IN THE LINE</a:t>
                </a:r>
              </a:p>
            </p:txBody>
          </p:sp>
        </p:grpSp>
      </p:grpSp>
      <p:sp>
        <p:nvSpPr>
          <p:cNvPr id="6" name="Fußzeilenplatzhalter 5">
            <a:extLst>
              <a:ext uri="{FF2B5EF4-FFF2-40B4-BE49-F238E27FC236}">
                <a16:creationId xmlns:a16="http://schemas.microsoft.com/office/drawing/2014/main" id="{0139D2B6-BB68-4FE2-BB86-6C921E98BE38}"/>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7" name="Foliennummernplatzhalter 6">
            <a:extLst>
              <a:ext uri="{FF2B5EF4-FFF2-40B4-BE49-F238E27FC236}">
                <a16:creationId xmlns:a16="http://schemas.microsoft.com/office/drawing/2014/main" id="{5663F996-70C4-4788-A762-32E9A40840ED}"/>
              </a:ext>
            </a:extLst>
          </p:cNvPr>
          <p:cNvSpPr>
            <a:spLocks noGrp="1"/>
          </p:cNvSpPr>
          <p:nvPr>
            <p:ph type="sldNum" sz="quarter" idx="11"/>
          </p:nvPr>
        </p:nvSpPr>
        <p:spPr/>
        <p:txBody>
          <a:bodyPr/>
          <a:lstStyle/>
          <a:p>
            <a:r>
              <a:rPr lang="en-US"/>
              <a:t>Page </a:t>
            </a:r>
            <a:fld id="{15EBE321-CBB1-4E91-BD14-37C8D44326FB}" type="slidenum">
              <a:rPr lang="en-US" smtClean="0"/>
              <a:pPr/>
              <a:t>20</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03ABFAE-D9D4-4344-A369-8C4A384406AB}"/>
              </a:ext>
            </a:extLst>
          </p:cNvPr>
          <p:cNvSpPr/>
          <p:nvPr/>
        </p:nvSpPr>
        <p:spPr bwMode="auto">
          <a:xfrm>
            <a:off x="3684988" y="1221716"/>
            <a:ext cx="6477346" cy="2127750"/>
          </a:xfrm>
          <a:prstGeom prst="rect">
            <a:avLst/>
          </a:prstGeom>
          <a:solidFill>
            <a:srgbClr val="CCCCD4"/>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p:txBody>
      </p:sp>
      <p:sp>
        <p:nvSpPr>
          <p:cNvPr id="12290" name="Rectangle 2"/>
          <p:cNvSpPr>
            <a:spLocks noGrp="1" noChangeArrowheads="1"/>
          </p:cNvSpPr>
          <p:nvPr>
            <p:ph type="title"/>
          </p:nvPr>
        </p:nvSpPr>
        <p:spPr/>
        <p:txBody>
          <a:bodyPr/>
          <a:lstStyle/>
          <a:p>
            <a:r>
              <a:rPr lang="en-US" altLang="de-DE" dirty="0">
                <a:latin typeface="Arial" charset="0"/>
                <a:cs typeface="Arial" charset="0"/>
              </a:rPr>
              <a:t>WIDE AREA PROTECTION SYSTEMS  </a:t>
            </a:r>
            <a:r>
              <a:rPr lang="en-US" altLang="en-US" dirty="0"/>
              <a:t>(WAP</a:t>
            </a:r>
            <a:r>
              <a:rPr lang="de-DE" altLang="en-US" dirty="0"/>
              <a:t>) WHEN? WHY?</a:t>
            </a:r>
            <a:br>
              <a:rPr lang="en-US" altLang="en-US" dirty="0"/>
            </a:br>
            <a:br>
              <a:rPr lang="de-DE" altLang="de-DE" dirty="0">
                <a:latin typeface="Arial" charset="0"/>
                <a:cs typeface="Arial" charset="0"/>
              </a:rPr>
            </a:br>
            <a:endParaRPr lang="en-US" altLang="de-DE" sz="1599" dirty="0">
              <a:latin typeface="Arial" charset="0"/>
              <a:cs typeface="Arial" charset="0"/>
            </a:endParaRPr>
          </a:p>
        </p:txBody>
      </p:sp>
      <p:grpSp>
        <p:nvGrpSpPr>
          <p:cNvPr id="9" name="Group 8">
            <a:extLst>
              <a:ext uri="{FF2B5EF4-FFF2-40B4-BE49-F238E27FC236}">
                <a16:creationId xmlns:a16="http://schemas.microsoft.com/office/drawing/2014/main" id="{D35DF848-1BFD-4A67-BD2C-F745268EB11D}"/>
              </a:ext>
            </a:extLst>
          </p:cNvPr>
          <p:cNvGrpSpPr/>
          <p:nvPr/>
        </p:nvGrpSpPr>
        <p:grpSpPr>
          <a:xfrm>
            <a:off x="3700047" y="3382929"/>
            <a:ext cx="7880771" cy="118042"/>
            <a:chOff x="1557163" y="2878849"/>
            <a:chExt cx="7884876" cy="118103"/>
          </a:xfrm>
        </p:grpSpPr>
        <p:sp>
          <p:nvSpPr>
            <p:cNvPr id="2" name="Rectangle: Rounded Corners 1">
              <a:extLst>
                <a:ext uri="{FF2B5EF4-FFF2-40B4-BE49-F238E27FC236}">
                  <a16:creationId xmlns:a16="http://schemas.microsoft.com/office/drawing/2014/main" id="{8B6B4E02-2190-4EC3-9A2D-259A54987FBA}"/>
                </a:ext>
              </a:extLst>
            </p:cNvPr>
            <p:cNvSpPr/>
            <p:nvPr/>
          </p:nvSpPr>
          <p:spPr bwMode="auto">
            <a:xfrm>
              <a:off x="1557163" y="2888940"/>
              <a:ext cx="2561792" cy="108012"/>
            </a:xfrm>
            <a:prstGeom prst="roundRect">
              <a:avLst/>
            </a:prstGeom>
            <a:solidFill>
              <a:srgbClr val="00B050"/>
            </a:solidFill>
            <a:ln>
              <a:no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r>
                <a:rPr lang="de-DE" sz="800" dirty="0">
                  <a:ea typeface="Arial Unicode MS" panose="020B0604020202020204" pitchFamily="34" charset="-128"/>
                  <a:cs typeface="Arial Unicode MS" panose="020B0604020202020204" pitchFamily="34" charset="-128"/>
                </a:rPr>
                <a:t>PREFAULT</a:t>
              </a:r>
              <a:r>
                <a:rPr lang="de-DE" sz="1799" dirty="0">
                  <a:ea typeface="Arial Unicode MS" panose="020B0604020202020204" pitchFamily="34" charset="-128"/>
                  <a:cs typeface="Arial Unicode MS" panose="020B0604020202020204" pitchFamily="34" charset="-128"/>
                </a:rPr>
                <a:t>                                 </a:t>
              </a:r>
            </a:p>
            <a:p>
              <a:pPr algn="ctr">
                <a:lnSpc>
                  <a:spcPct val="110000"/>
                </a:lnSpc>
                <a:spcBef>
                  <a:spcPct val="0"/>
                </a:spcBef>
                <a:buFont typeface="Wingdings" charset="0"/>
                <a:buNone/>
              </a:pPr>
              <a:r>
                <a:rPr lang="de-DE" sz="1799" dirty="0">
                  <a:ea typeface="Arial Unicode MS" panose="020B0604020202020204" pitchFamily="34" charset="-128"/>
                  <a:cs typeface="Arial Unicode MS" panose="020B0604020202020204" pitchFamily="34" charset="-128"/>
                </a:rPr>
                <a:t>                                 </a:t>
              </a:r>
              <a:r>
                <a:rPr lang="de-DE" sz="1199" dirty="0" err="1">
                  <a:ea typeface="Arial Unicode MS" panose="020B0604020202020204" pitchFamily="34" charset="-128"/>
                  <a:cs typeface="Arial Unicode MS" panose="020B0604020202020204" pitchFamily="34" charset="-128"/>
                </a:rPr>
                <a:t>To</a:t>
              </a:r>
              <a:r>
                <a:rPr lang="de-DE" sz="1799" dirty="0">
                  <a:ea typeface="Arial Unicode MS" panose="020B0604020202020204" pitchFamily="34" charset="-128"/>
                  <a:cs typeface="Arial Unicode MS" panose="020B0604020202020204" pitchFamily="34" charset="-128"/>
                </a:rPr>
                <a:t>  </a:t>
              </a:r>
              <a:endParaRPr lang="en-US" sz="1799" dirty="0">
                <a:ea typeface="Arial Unicode MS" panose="020B0604020202020204" pitchFamily="34" charset="-128"/>
                <a:cs typeface="Arial Unicode MS" panose="020B0604020202020204" pitchFamily="34" charset="-128"/>
              </a:endParaRPr>
            </a:p>
          </p:txBody>
        </p:sp>
        <p:sp>
          <p:nvSpPr>
            <p:cNvPr id="3" name="TextBox 2">
              <a:extLst>
                <a:ext uri="{FF2B5EF4-FFF2-40B4-BE49-F238E27FC236}">
                  <a16:creationId xmlns:a16="http://schemas.microsoft.com/office/drawing/2014/main" id="{6E5C7F86-C03D-4EDC-8D87-55CBDF2E27C1}"/>
                </a:ext>
              </a:extLst>
            </p:cNvPr>
            <p:cNvSpPr txBox="1"/>
            <p:nvPr/>
          </p:nvSpPr>
          <p:spPr>
            <a:xfrm>
              <a:off x="4118955" y="2888940"/>
              <a:ext cx="1080120" cy="108012"/>
            </a:xfrm>
            <a:prstGeom prst="rect">
              <a:avLst/>
            </a:prstGeom>
            <a:solidFill>
              <a:srgbClr val="FF0000"/>
            </a:solidFill>
          </p:spPr>
          <p:txBody>
            <a:bodyPr wrap="square" lIns="0" tIns="0" rIns="0" bIns="0" rtlCol="0">
              <a:noAutofit/>
            </a:bodyPr>
            <a:lstStyle/>
            <a:p>
              <a:pPr>
                <a:lnSpc>
                  <a:spcPct val="110000"/>
                </a:lnSpc>
              </a:pPr>
              <a:r>
                <a:rPr lang="de-DE" sz="1199" dirty="0">
                  <a:ea typeface="Arial Unicode MS" panose="020B0604020202020204" pitchFamily="34" charset="-128"/>
                  <a:cs typeface="Arial Unicode MS" panose="020B0604020202020204" pitchFamily="34" charset="-128"/>
                </a:rPr>
                <a:t>               </a:t>
              </a:r>
            </a:p>
            <a:p>
              <a:pPr>
                <a:lnSpc>
                  <a:spcPct val="110000"/>
                </a:lnSpc>
              </a:pPr>
              <a:r>
                <a:rPr lang="de-DE" sz="1199" dirty="0">
                  <a:ea typeface="Arial Unicode MS" panose="020B0604020202020204" pitchFamily="34" charset="-128"/>
                  <a:cs typeface="Arial Unicode MS" panose="020B0604020202020204" pitchFamily="34" charset="-128"/>
                </a:rPr>
                <a:t>                80ms</a:t>
              </a:r>
              <a:endParaRPr lang="en-US" sz="1199" dirty="0">
                <a:ea typeface="Arial Unicode MS" panose="020B0604020202020204" pitchFamily="34" charset="-128"/>
                <a:cs typeface="Arial Unicode MS" panose="020B0604020202020204" pitchFamily="34" charset="-128"/>
              </a:endParaRPr>
            </a:p>
          </p:txBody>
        </p:sp>
        <p:sp>
          <p:nvSpPr>
            <p:cNvPr id="7" name="TextBox 6">
              <a:extLst>
                <a:ext uri="{FF2B5EF4-FFF2-40B4-BE49-F238E27FC236}">
                  <a16:creationId xmlns:a16="http://schemas.microsoft.com/office/drawing/2014/main" id="{5C0B784A-8814-4539-8E3A-32E422262E28}"/>
                </a:ext>
              </a:extLst>
            </p:cNvPr>
            <p:cNvSpPr txBox="1"/>
            <p:nvPr/>
          </p:nvSpPr>
          <p:spPr>
            <a:xfrm>
              <a:off x="5199075" y="2883894"/>
              <a:ext cx="2664296" cy="113057"/>
            </a:xfrm>
            <a:prstGeom prst="rect">
              <a:avLst/>
            </a:prstGeom>
            <a:solidFill>
              <a:srgbClr val="EB780A"/>
            </a:solidFill>
          </p:spPr>
          <p:txBody>
            <a:bodyPr wrap="square" lIns="0" tIns="0" rIns="0" bIns="0" rtlCol="0">
              <a:noAutofit/>
            </a:bodyPr>
            <a:lstStyle/>
            <a:p>
              <a:pPr>
                <a:lnSpc>
                  <a:spcPct val="110000"/>
                </a:lnSpc>
              </a:pPr>
              <a:r>
                <a:rPr lang="de-DE" sz="1199" dirty="0">
                  <a:ea typeface="Arial Unicode MS" panose="020B0604020202020204" pitchFamily="34" charset="-128"/>
                  <a:cs typeface="Arial Unicode MS" panose="020B0604020202020204" pitchFamily="34" charset="-128"/>
                </a:rPr>
                <a:t>                                                                  </a:t>
              </a:r>
            </a:p>
            <a:p>
              <a:pPr>
                <a:lnSpc>
                  <a:spcPct val="110000"/>
                </a:lnSpc>
              </a:pPr>
              <a:r>
                <a:rPr lang="de-DE" sz="1199" dirty="0">
                  <a:ea typeface="Arial Unicode MS" panose="020B0604020202020204" pitchFamily="34" charset="-128"/>
                  <a:cs typeface="Arial Unicode MS" panose="020B0604020202020204" pitchFamily="34" charset="-128"/>
                </a:rPr>
                <a:t>                                            </a:t>
              </a:r>
              <a:r>
                <a:rPr lang="de-DE" sz="1199" dirty="0" err="1">
                  <a:ea typeface="Arial Unicode MS" panose="020B0604020202020204" pitchFamily="34" charset="-128"/>
                  <a:cs typeface="Arial Unicode MS" panose="020B0604020202020204" pitchFamily="34" charset="-128"/>
                </a:rPr>
                <a:t>Tcascading</a:t>
              </a:r>
              <a:endParaRPr lang="en-US" sz="1199" dirty="0">
                <a:ea typeface="Arial Unicode MS" panose="020B0604020202020204" pitchFamily="34" charset="-128"/>
                <a:cs typeface="Arial Unicode MS" panose="020B0604020202020204" pitchFamily="34" charset="-128"/>
              </a:endParaRPr>
            </a:p>
          </p:txBody>
        </p:sp>
        <p:sp>
          <p:nvSpPr>
            <p:cNvPr id="8" name="TextBox 7">
              <a:extLst>
                <a:ext uri="{FF2B5EF4-FFF2-40B4-BE49-F238E27FC236}">
                  <a16:creationId xmlns:a16="http://schemas.microsoft.com/office/drawing/2014/main" id="{9CA49606-7FBF-4ACD-9832-092D80E5FFF9}"/>
                </a:ext>
              </a:extLst>
            </p:cNvPr>
            <p:cNvSpPr txBox="1"/>
            <p:nvPr/>
          </p:nvSpPr>
          <p:spPr>
            <a:xfrm>
              <a:off x="7863371" y="2878849"/>
              <a:ext cx="1578668" cy="108012"/>
            </a:xfrm>
            <a:prstGeom prst="rect">
              <a:avLst/>
            </a:prstGeom>
            <a:ln/>
          </p:spPr>
          <p:style>
            <a:lnRef idx="1">
              <a:schemeClr val="accent1"/>
            </a:lnRef>
            <a:fillRef idx="2">
              <a:schemeClr val="accent1"/>
            </a:fillRef>
            <a:effectRef idx="1">
              <a:schemeClr val="accent1"/>
            </a:effectRef>
            <a:fontRef idx="minor">
              <a:schemeClr val="dk1"/>
            </a:fontRef>
          </p:style>
          <p:txBody>
            <a:bodyPr wrap="square" lIns="0" tIns="0" rIns="0" bIns="0" rtlCol="0">
              <a:noAutofit/>
            </a:bodyPr>
            <a:lstStyle/>
            <a:p>
              <a:pPr>
                <a:lnSpc>
                  <a:spcPct val="110000"/>
                </a:lnSpc>
              </a:pPr>
              <a:endParaRPr lang="en-US" sz="1199" dirty="0">
                <a:solidFill>
                  <a:schemeClr val="tx1"/>
                </a:solidFill>
                <a:ea typeface="Arial Unicode MS" panose="020B0604020202020204" pitchFamily="34" charset="-128"/>
                <a:cs typeface="Arial Unicode MS" panose="020B0604020202020204" pitchFamily="34" charset="-128"/>
              </a:endParaRPr>
            </a:p>
          </p:txBody>
        </p:sp>
      </p:grpSp>
      <p:sp>
        <p:nvSpPr>
          <p:cNvPr id="10" name="TextBox 9">
            <a:extLst>
              <a:ext uri="{FF2B5EF4-FFF2-40B4-BE49-F238E27FC236}">
                <a16:creationId xmlns:a16="http://schemas.microsoft.com/office/drawing/2014/main" id="{99764F6B-E464-46AA-BC8D-E5EFC7EFEB13}"/>
              </a:ext>
            </a:extLst>
          </p:cNvPr>
          <p:cNvSpPr txBox="1"/>
          <p:nvPr/>
        </p:nvSpPr>
        <p:spPr>
          <a:xfrm>
            <a:off x="3700047" y="1809664"/>
            <a:ext cx="2231086" cy="208585"/>
          </a:xfrm>
          <a:prstGeom prst="rect">
            <a:avLst/>
          </a:prstGeom>
          <a:noFill/>
        </p:spPr>
        <p:txBody>
          <a:bodyPr wrap="none" lIns="0" tIns="0" rIns="0" bIns="0" rtlCol="0">
            <a:noAutofit/>
          </a:bodyPr>
          <a:lstStyle/>
          <a:p>
            <a:pPr>
              <a:lnSpc>
                <a:spcPct val="110000"/>
              </a:lnSpc>
            </a:pPr>
            <a:r>
              <a:rPr lang="de-DE" sz="1199" dirty="0">
                <a:solidFill>
                  <a:srgbClr val="00B050"/>
                </a:solidFill>
                <a:ea typeface="Arial Unicode MS" panose="020B0604020202020204" pitchFamily="34" charset="-128"/>
                <a:cs typeface="Arial Unicode MS" panose="020B0604020202020204" pitchFamily="34" charset="-128"/>
              </a:rPr>
              <a:t>WIDE AREA CONTROL WAC</a:t>
            </a:r>
          </a:p>
        </p:txBody>
      </p:sp>
      <p:sp>
        <p:nvSpPr>
          <p:cNvPr id="12" name="TextBox 11">
            <a:extLst>
              <a:ext uri="{FF2B5EF4-FFF2-40B4-BE49-F238E27FC236}">
                <a16:creationId xmlns:a16="http://schemas.microsoft.com/office/drawing/2014/main" id="{DCA75A4B-B9F4-403C-8DBB-8F16944278D9}"/>
              </a:ext>
            </a:extLst>
          </p:cNvPr>
          <p:cNvSpPr txBox="1"/>
          <p:nvPr/>
        </p:nvSpPr>
        <p:spPr>
          <a:xfrm>
            <a:off x="3713348" y="1960931"/>
            <a:ext cx="2446998" cy="1396099"/>
          </a:xfrm>
          <a:prstGeom prst="rect">
            <a:avLst/>
          </a:prstGeom>
          <a:noFill/>
        </p:spPr>
        <p:txBody>
          <a:bodyPr wrap="none" lIns="0" tIns="0" rIns="0" bIns="0" rtlCol="0">
            <a:noAutofit/>
          </a:bodyPr>
          <a:lstStyle/>
          <a:p>
            <a:pPr>
              <a:lnSpc>
                <a:spcPct val="110000"/>
              </a:lnSpc>
            </a:pPr>
            <a:r>
              <a:rPr lang="en-US" sz="1199" dirty="0">
                <a:solidFill>
                  <a:srgbClr val="00B050"/>
                </a:solidFill>
                <a:ea typeface="Arial Unicode MS" panose="020B0604020202020204" pitchFamily="34" charset="-128"/>
                <a:cs typeface="Arial Unicode MS" panose="020B0604020202020204" pitchFamily="34" charset="-128"/>
              </a:rPr>
              <a:t>Change of Control Schemes</a:t>
            </a:r>
          </a:p>
          <a:p>
            <a:pPr marL="171364" indent="-171364">
              <a:lnSpc>
                <a:spcPct val="110000"/>
              </a:lnSpc>
              <a:buFont typeface="Arial" panose="020B0604020202020204" pitchFamily="34" charset="0"/>
              <a:buChar char="•"/>
            </a:pPr>
            <a:r>
              <a:rPr lang="en-US" sz="1199" dirty="0">
                <a:solidFill>
                  <a:srgbClr val="00B050"/>
                </a:solidFill>
                <a:ea typeface="Arial Unicode MS" panose="020B0604020202020204" pitchFamily="34" charset="-128"/>
                <a:cs typeface="Arial Unicode MS" panose="020B0604020202020204" pitchFamily="34" charset="-128"/>
              </a:rPr>
              <a:t>HVDC </a:t>
            </a:r>
          </a:p>
          <a:p>
            <a:pPr marL="171364" indent="-171364">
              <a:lnSpc>
                <a:spcPct val="110000"/>
              </a:lnSpc>
              <a:buFont typeface="Arial" panose="020B0604020202020204" pitchFamily="34" charset="0"/>
              <a:buChar char="•"/>
            </a:pPr>
            <a:r>
              <a:rPr lang="en-US" sz="1199" dirty="0">
                <a:solidFill>
                  <a:srgbClr val="00B050"/>
                </a:solidFill>
                <a:ea typeface="Arial Unicode MS" panose="020B0604020202020204" pitchFamily="34" charset="-128"/>
                <a:cs typeface="Arial Unicode MS" panose="020B0604020202020204" pitchFamily="34" charset="-128"/>
              </a:rPr>
              <a:t>FACTS</a:t>
            </a:r>
          </a:p>
          <a:p>
            <a:pPr marL="171364" indent="-171364">
              <a:lnSpc>
                <a:spcPct val="110000"/>
              </a:lnSpc>
              <a:buFont typeface="Arial" panose="020B0604020202020204" pitchFamily="34" charset="0"/>
              <a:buChar char="•"/>
            </a:pPr>
            <a:r>
              <a:rPr lang="en-US" sz="1199" dirty="0">
                <a:solidFill>
                  <a:srgbClr val="00B050"/>
                </a:solidFill>
                <a:ea typeface="Arial Unicode MS" panose="020B0604020202020204" pitchFamily="34" charset="-128"/>
                <a:cs typeface="Arial Unicode MS" panose="020B0604020202020204" pitchFamily="34" charset="-128"/>
              </a:rPr>
              <a:t>Phase Shifting Transformers</a:t>
            </a:r>
          </a:p>
          <a:p>
            <a:pPr marL="171364" indent="-171364">
              <a:lnSpc>
                <a:spcPct val="110000"/>
              </a:lnSpc>
              <a:buFont typeface="Arial" panose="020B0604020202020204" pitchFamily="34" charset="0"/>
              <a:buChar char="•"/>
            </a:pPr>
            <a:r>
              <a:rPr lang="en-US" sz="1199" dirty="0">
                <a:solidFill>
                  <a:srgbClr val="00B050"/>
                </a:solidFill>
                <a:ea typeface="Arial Unicode MS" panose="020B0604020202020204" pitchFamily="34" charset="-128"/>
                <a:cs typeface="Arial Unicode MS" panose="020B0604020202020204" pitchFamily="34" charset="-128"/>
              </a:rPr>
              <a:t>Tap Changers</a:t>
            </a:r>
          </a:p>
        </p:txBody>
      </p:sp>
      <p:sp>
        <p:nvSpPr>
          <p:cNvPr id="13" name="TextBox 12">
            <a:extLst>
              <a:ext uri="{FF2B5EF4-FFF2-40B4-BE49-F238E27FC236}">
                <a16:creationId xmlns:a16="http://schemas.microsoft.com/office/drawing/2014/main" id="{12ED79E3-431C-46D9-80B9-1824FF14C09B}"/>
              </a:ext>
            </a:extLst>
          </p:cNvPr>
          <p:cNvSpPr txBox="1"/>
          <p:nvPr/>
        </p:nvSpPr>
        <p:spPr>
          <a:xfrm>
            <a:off x="6260505" y="2662178"/>
            <a:ext cx="1079558" cy="545698"/>
          </a:xfrm>
          <a:prstGeom prst="rect">
            <a:avLst/>
          </a:prstGeom>
          <a:noFill/>
        </p:spPr>
        <p:txBody>
          <a:bodyPr wrap="none" lIns="0" tIns="0" rIns="0" bIns="0" rtlCol="0">
            <a:noAutofit/>
          </a:bodyPr>
          <a:lstStyle/>
          <a:p>
            <a:pPr>
              <a:lnSpc>
                <a:spcPct val="110000"/>
              </a:lnSpc>
            </a:pPr>
            <a:r>
              <a:rPr lang="de-DE" sz="1199" dirty="0">
                <a:solidFill>
                  <a:srgbClr val="FF0000"/>
                </a:solidFill>
                <a:ea typeface="Arial Unicode MS" panose="020B0604020202020204" pitchFamily="34" charset="-128"/>
                <a:cs typeface="Arial Unicode MS" panose="020B0604020202020204" pitchFamily="34" charset="-128"/>
              </a:rPr>
              <a:t>PROTECTION</a:t>
            </a:r>
          </a:p>
          <a:p>
            <a:pPr>
              <a:lnSpc>
                <a:spcPct val="110000"/>
              </a:lnSpc>
            </a:pPr>
            <a:r>
              <a:rPr lang="de-DE" sz="1199" dirty="0">
                <a:solidFill>
                  <a:srgbClr val="FF0000"/>
                </a:solidFill>
                <a:ea typeface="Arial Unicode MS" panose="020B0604020202020204" pitchFamily="34" charset="-128"/>
                <a:cs typeface="Arial Unicode MS" panose="020B0604020202020204" pitchFamily="34" charset="-128"/>
              </a:rPr>
              <a:t>OPERATION </a:t>
            </a:r>
          </a:p>
          <a:p>
            <a:pPr>
              <a:lnSpc>
                <a:spcPct val="110000"/>
              </a:lnSpc>
            </a:pPr>
            <a:r>
              <a:rPr lang="de-DE" sz="1199" dirty="0">
                <a:solidFill>
                  <a:srgbClr val="FF0000"/>
                </a:solidFill>
                <a:ea typeface="Arial Unicode MS" panose="020B0604020202020204" pitchFamily="34" charset="-128"/>
                <a:cs typeface="Arial Unicode MS" panose="020B0604020202020204" pitchFamily="34" charset="-128"/>
              </a:rPr>
              <a:t>APPROX 80 </a:t>
            </a:r>
            <a:r>
              <a:rPr lang="de-DE" sz="1199" dirty="0" err="1">
                <a:solidFill>
                  <a:srgbClr val="FF0000"/>
                </a:solidFill>
                <a:ea typeface="Arial Unicode MS" panose="020B0604020202020204" pitchFamily="34" charset="-128"/>
                <a:cs typeface="Arial Unicode MS" panose="020B0604020202020204" pitchFamily="34" charset="-128"/>
              </a:rPr>
              <a:t>ms.</a:t>
            </a:r>
            <a:endParaRPr lang="de-DE" sz="1199" dirty="0">
              <a:solidFill>
                <a:srgbClr val="FF0000"/>
              </a:solidFill>
              <a:ea typeface="Arial Unicode MS" panose="020B0604020202020204" pitchFamily="34" charset="-128"/>
              <a:cs typeface="Arial Unicode MS" panose="020B0604020202020204" pitchFamily="34" charset="-128"/>
            </a:endParaRPr>
          </a:p>
          <a:p>
            <a:pPr>
              <a:lnSpc>
                <a:spcPct val="110000"/>
              </a:lnSpc>
            </a:pPr>
            <a:r>
              <a:rPr lang="de-DE" sz="800" dirty="0">
                <a:ea typeface="Arial Unicode MS" panose="020B0604020202020204" pitchFamily="34" charset="-128"/>
                <a:cs typeface="Arial Unicode MS" panose="020B0604020202020204" pitchFamily="34" charset="-128"/>
              </a:rPr>
              <a:t>TRIP</a:t>
            </a:r>
          </a:p>
          <a:p>
            <a:pPr>
              <a:lnSpc>
                <a:spcPct val="110000"/>
              </a:lnSpc>
            </a:pPr>
            <a:endParaRPr lang="de-DE" sz="1199" dirty="0">
              <a:solidFill>
                <a:srgbClr val="00B050"/>
              </a:solidFill>
              <a:ea typeface="Arial Unicode MS" panose="020B0604020202020204" pitchFamily="34" charset="-128"/>
              <a:cs typeface="Arial Unicode MS" panose="020B0604020202020204" pitchFamily="34" charset="-128"/>
            </a:endParaRPr>
          </a:p>
        </p:txBody>
      </p:sp>
      <p:sp>
        <p:nvSpPr>
          <p:cNvPr id="14" name="TextBox 13">
            <a:extLst>
              <a:ext uri="{FF2B5EF4-FFF2-40B4-BE49-F238E27FC236}">
                <a16:creationId xmlns:a16="http://schemas.microsoft.com/office/drawing/2014/main" id="{286CC5CB-F944-482D-9E74-214161A79321}"/>
              </a:ext>
            </a:extLst>
          </p:cNvPr>
          <p:cNvSpPr txBox="1"/>
          <p:nvPr/>
        </p:nvSpPr>
        <p:spPr>
          <a:xfrm>
            <a:off x="7516545" y="1745657"/>
            <a:ext cx="2231086" cy="208585"/>
          </a:xfrm>
          <a:prstGeom prst="rect">
            <a:avLst/>
          </a:prstGeom>
          <a:noFill/>
        </p:spPr>
        <p:txBody>
          <a:bodyPr wrap="none" lIns="0" tIns="0" rIns="0" bIns="0" rtlCol="0">
            <a:noAutofit/>
          </a:bodyPr>
          <a:lstStyle/>
          <a:p>
            <a:pPr>
              <a:lnSpc>
                <a:spcPct val="110000"/>
              </a:lnSpc>
            </a:pPr>
            <a:r>
              <a:rPr lang="de-DE" sz="1199" dirty="0">
                <a:solidFill>
                  <a:srgbClr val="EB780A"/>
                </a:solidFill>
                <a:ea typeface="Arial Unicode MS" panose="020B0604020202020204" pitchFamily="34" charset="-128"/>
                <a:cs typeface="Arial Unicode MS" panose="020B0604020202020204" pitchFamily="34" charset="-128"/>
              </a:rPr>
              <a:t>WIDE AREA PROTECTION WAP</a:t>
            </a:r>
          </a:p>
          <a:p>
            <a:pPr>
              <a:lnSpc>
                <a:spcPct val="110000"/>
              </a:lnSpc>
            </a:pPr>
            <a:endParaRPr lang="de-DE" sz="1199" dirty="0">
              <a:solidFill>
                <a:srgbClr val="EB780A"/>
              </a:solidFill>
              <a:ea typeface="Arial Unicode MS" panose="020B0604020202020204" pitchFamily="34" charset="-128"/>
              <a:cs typeface="Arial Unicode MS" panose="020B0604020202020204" pitchFamily="34" charset="-128"/>
            </a:endParaRPr>
          </a:p>
          <a:p>
            <a:pPr>
              <a:lnSpc>
                <a:spcPct val="110000"/>
              </a:lnSpc>
            </a:pPr>
            <a:endParaRPr lang="de-DE" sz="1199" dirty="0">
              <a:solidFill>
                <a:srgbClr val="EB780A"/>
              </a:solidFill>
              <a:ea typeface="Arial Unicode MS" panose="020B0604020202020204" pitchFamily="34" charset="-128"/>
              <a:cs typeface="Arial Unicode MS" panose="020B0604020202020204" pitchFamily="34" charset="-128"/>
            </a:endParaRPr>
          </a:p>
        </p:txBody>
      </p:sp>
      <p:sp>
        <p:nvSpPr>
          <p:cNvPr id="15" name="TextBox 14">
            <a:extLst>
              <a:ext uri="{FF2B5EF4-FFF2-40B4-BE49-F238E27FC236}">
                <a16:creationId xmlns:a16="http://schemas.microsoft.com/office/drawing/2014/main" id="{5396170C-91B0-4485-9317-AAFD37BA1EA9}"/>
              </a:ext>
            </a:extLst>
          </p:cNvPr>
          <p:cNvSpPr txBox="1"/>
          <p:nvPr/>
        </p:nvSpPr>
        <p:spPr>
          <a:xfrm>
            <a:off x="7514484" y="1924945"/>
            <a:ext cx="2446998" cy="1396099"/>
          </a:xfrm>
          <a:prstGeom prst="rect">
            <a:avLst/>
          </a:prstGeom>
          <a:noFill/>
        </p:spPr>
        <p:txBody>
          <a:bodyPr wrap="none" lIns="0" tIns="0" rIns="0" bIns="0" rtlCol="0">
            <a:noAutofit/>
          </a:bodyPr>
          <a:lstStyle/>
          <a:p>
            <a:pPr marL="171364" indent="-171364">
              <a:lnSpc>
                <a:spcPct val="110000"/>
              </a:lnSpc>
              <a:buFont typeface="Arial" panose="020B0604020202020204" pitchFamily="34" charset="0"/>
              <a:buChar char="•"/>
            </a:pPr>
            <a:r>
              <a:rPr lang="en-US" sz="1199" dirty="0">
                <a:solidFill>
                  <a:srgbClr val="EB780A"/>
                </a:solidFill>
                <a:ea typeface="Arial Unicode MS" panose="020B0604020202020204" pitchFamily="34" charset="-128"/>
                <a:cs typeface="Arial Unicode MS" panose="020B0604020202020204" pitchFamily="34" charset="-128"/>
              </a:rPr>
              <a:t>Switching Actions</a:t>
            </a:r>
          </a:p>
          <a:p>
            <a:pPr marL="171364" indent="-171364">
              <a:lnSpc>
                <a:spcPct val="110000"/>
              </a:lnSpc>
              <a:buFont typeface="Arial" panose="020B0604020202020204" pitchFamily="34" charset="0"/>
              <a:buChar char="•"/>
            </a:pPr>
            <a:r>
              <a:rPr lang="en-US" sz="1199" dirty="0">
                <a:solidFill>
                  <a:srgbClr val="EB780A"/>
                </a:solidFill>
                <a:ea typeface="Arial Unicode MS" panose="020B0604020202020204" pitchFamily="34" charset="-128"/>
                <a:cs typeface="Arial Unicode MS" panose="020B0604020202020204" pitchFamily="34" charset="-128"/>
              </a:rPr>
              <a:t>Set points for Fast Devices (HVDC)</a:t>
            </a:r>
          </a:p>
        </p:txBody>
      </p:sp>
      <p:grpSp>
        <p:nvGrpSpPr>
          <p:cNvPr id="22" name="Group 21">
            <a:extLst>
              <a:ext uri="{FF2B5EF4-FFF2-40B4-BE49-F238E27FC236}">
                <a16:creationId xmlns:a16="http://schemas.microsoft.com/office/drawing/2014/main" id="{0A50E33A-25A7-4ADF-95E7-324990FFC885}"/>
              </a:ext>
            </a:extLst>
          </p:cNvPr>
          <p:cNvGrpSpPr/>
          <p:nvPr/>
        </p:nvGrpSpPr>
        <p:grpSpPr>
          <a:xfrm>
            <a:off x="3700047" y="4092740"/>
            <a:ext cx="6302925" cy="1891214"/>
            <a:chOff x="1634679" y="4093085"/>
            <a:chExt cx="6306208" cy="1892199"/>
          </a:xfrm>
        </p:grpSpPr>
        <p:sp>
          <p:nvSpPr>
            <p:cNvPr id="19" name="Rectangle 18">
              <a:extLst>
                <a:ext uri="{FF2B5EF4-FFF2-40B4-BE49-F238E27FC236}">
                  <a16:creationId xmlns:a16="http://schemas.microsoft.com/office/drawing/2014/main" id="{681BC53D-F732-488E-8D67-1680B6FBF70E}"/>
                </a:ext>
              </a:extLst>
            </p:cNvPr>
            <p:cNvSpPr/>
            <p:nvPr/>
          </p:nvSpPr>
          <p:spPr bwMode="auto">
            <a:xfrm>
              <a:off x="1634679" y="4093085"/>
              <a:ext cx="6306208" cy="1892199"/>
            </a:xfrm>
            <a:prstGeom prst="rect">
              <a:avLst/>
            </a:prstGeom>
            <a:solidFill>
              <a:schemeClr val="bg2">
                <a:lumMod val="20000"/>
                <a:lumOff val="80000"/>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de-DE" sz="1799" dirty="0">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endParaRPr lang="en-US" sz="1799" dirty="0">
                <a:ea typeface="Arial Unicode MS" panose="020B0604020202020204" pitchFamily="34" charset="-128"/>
                <a:cs typeface="Arial Unicode MS" panose="020B0604020202020204" pitchFamily="34" charset="-128"/>
              </a:endParaRPr>
            </a:p>
            <a:p>
              <a:pPr algn="ctr">
                <a:lnSpc>
                  <a:spcPct val="110000"/>
                </a:lnSpc>
                <a:spcBef>
                  <a:spcPct val="0"/>
                </a:spcBef>
                <a:buFont typeface="Wingdings" charset="0"/>
                <a:buNone/>
              </a:pPr>
              <a:r>
                <a:rPr lang="en-US" sz="1799" dirty="0">
                  <a:ea typeface="Arial Unicode MS" panose="020B0604020202020204" pitchFamily="34" charset="-128"/>
                  <a:cs typeface="Arial Unicode MS" panose="020B0604020202020204" pitchFamily="34" charset="-128"/>
                </a:rPr>
                <a:t>Not PMU based actions</a:t>
              </a:r>
            </a:p>
          </p:txBody>
        </p:sp>
        <p:sp>
          <p:nvSpPr>
            <p:cNvPr id="16" name="TextBox 15">
              <a:extLst>
                <a:ext uri="{FF2B5EF4-FFF2-40B4-BE49-F238E27FC236}">
                  <a16:creationId xmlns:a16="http://schemas.microsoft.com/office/drawing/2014/main" id="{772D2DFD-15AB-4EA8-8054-0E1F81AA91D8}"/>
                </a:ext>
              </a:extLst>
            </p:cNvPr>
            <p:cNvSpPr txBox="1"/>
            <p:nvPr/>
          </p:nvSpPr>
          <p:spPr>
            <a:xfrm>
              <a:off x="1748199" y="4222949"/>
              <a:ext cx="2448272" cy="1396826"/>
            </a:xfrm>
            <a:prstGeom prst="rect">
              <a:avLst/>
            </a:prstGeom>
            <a:noFill/>
          </p:spPr>
          <p:txBody>
            <a:bodyPr wrap="none" lIns="0" tIns="0" rIns="0" bIns="0" rtlCol="0">
              <a:noAutofit/>
            </a:bodyPr>
            <a:lstStyle/>
            <a:p>
              <a:pPr marL="171364" indent="-171364">
                <a:lnSpc>
                  <a:spcPct val="110000"/>
                </a:lnSpc>
                <a:buFont typeface="Arial" panose="020B0604020202020204" pitchFamily="34" charset="0"/>
                <a:buChar char="•"/>
              </a:pPr>
              <a:r>
                <a:rPr lang="en-US" sz="1199" dirty="0">
                  <a:solidFill>
                    <a:srgbClr val="000000"/>
                  </a:solidFill>
                  <a:ea typeface="Arial Unicode MS" panose="020B0604020202020204" pitchFamily="34" charset="-128"/>
                  <a:cs typeface="Arial Unicode MS" panose="020B0604020202020204" pitchFamily="34" charset="-128"/>
                </a:rPr>
                <a:t>Redispatch </a:t>
              </a:r>
            </a:p>
            <a:p>
              <a:pPr marL="171364" indent="-171364">
                <a:lnSpc>
                  <a:spcPct val="110000"/>
                </a:lnSpc>
                <a:buFont typeface="Arial" panose="020B0604020202020204" pitchFamily="34" charset="0"/>
                <a:buChar char="•"/>
              </a:pPr>
              <a:r>
                <a:rPr lang="en-US" sz="1199" dirty="0">
                  <a:solidFill>
                    <a:srgbClr val="000000"/>
                  </a:solidFill>
                  <a:ea typeface="Arial Unicode MS" panose="020B0604020202020204" pitchFamily="34" charset="-128"/>
                  <a:cs typeface="Arial Unicode MS" panose="020B0604020202020204" pitchFamily="34" charset="-128"/>
                </a:rPr>
                <a:t>Outage Scheduling</a:t>
              </a:r>
            </a:p>
            <a:p>
              <a:pPr marL="171364" indent="-171364">
                <a:lnSpc>
                  <a:spcPct val="110000"/>
                </a:lnSpc>
                <a:buFont typeface="Arial" panose="020B0604020202020204" pitchFamily="34" charset="0"/>
                <a:buChar char="•"/>
              </a:pPr>
              <a:r>
                <a:rPr lang="en-US" sz="1199" dirty="0">
                  <a:solidFill>
                    <a:srgbClr val="000000"/>
                  </a:solidFill>
                  <a:ea typeface="Arial Unicode MS" panose="020B0604020202020204" pitchFamily="34" charset="-128"/>
                  <a:cs typeface="Arial Unicode MS" panose="020B0604020202020204" pitchFamily="34" charset="-128"/>
                </a:rPr>
                <a:t>N-1 Criterium</a:t>
              </a:r>
            </a:p>
          </p:txBody>
        </p:sp>
        <p:sp>
          <p:nvSpPr>
            <p:cNvPr id="17" name="TextBox 16">
              <a:extLst>
                <a:ext uri="{FF2B5EF4-FFF2-40B4-BE49-F238E27FC236}">
                  <a16:creationId xmlns:a16="http://schemas.microsoft.com/office/drawing/2014/main" id="{2CCE8F08-806D-4AC2-9186-2280E4BB8832}"/>
                </a:ext>
              </a:extLst>
            </p:cNvPr>
            <p:cNvSpPr txBox="1"/>
            <p:nvPr/>
          </p:nvSpPr>
          <p:spPr>
            <a:xfrm>
              <a:off x="5348597" y="4233040"/>
              <a:ext cx="2550778" cy="1396826"/>
            </a:xfrm>
            <a:prstGeom prst="rect">
              <a:avLst/>
            </a:prstGeom>
            <a:noFill/>
          </p:spPr>
          <p:txBody>
            <a:bodyPr wrap="none" lIns="0" tIns="0" rIns="0" bIns="0" rtlCol="0">
              <a:noAutofit/>
            </a:bodyPr>
            <a:lstStyle/>
            <a:p>
              <a:pPr marL="171364" indent="-171364">
                <a:lnSpc>
                  <a:spcPct val="110000"/>
                </a:lnSpc>
                <a:buFont typeface="Arial" panose="020B0604020202020204" pitchFamily="34" charset="0"/>
                <a:buChar char="•"/>
              </a:pPr>
              <a:r>
                <a:rPr lang="en-US" sz="1199" dirty="0">
                  <a:solidFill>
                    <a:srgbClr val="000000"/>
                  </a:solidFill>
                  <a:ea typeface="Arial Unicode MS" panose="020B0604020202020204" pitchFamily="34" charset="-128"/>
                  <a:cs typeface="Arial Unicode MS" panose="020B0604020202020204" pitchFamily="34" charset="-128"/>
                </a:rPr>
                <a:t>Special Protection Schemes </a:t>
              </a:r>
            </a:p>
            <a:p>
              <a:pPr>
                <a:lnSpc>
                  <a:spcPct val="110000"/>
                </a:lnSpc>
              </a:pPr>
              <a:r>
                <a:rPr lang="en-US" sz="1199" dirty="0">
                  <a:solidFill>
                    <a:srgbClr val="000000"/>
                  </a:solidFill>
                  <a:ea typeface="Arial Unicode MS" panose="020B0604020202020204" pitchFamily="34" charset="-128"/>
                  <a:cs typeface="Arial Unicode MS" panose="020B0604020202020204" pitchFamily="34" charset="-128"/>
                </a:rPr>
                <a:t>    Fixed or hardwired</a:t>
              </a:r>
            </a:p>
            <a:p>
              <a:pPr marL="171364" indent="-171364">
                <a:lnSpc>
                  <a:spcPct val="110000"/>
                </a:lnSpc>
                <a:buFont typeface="Arial" panose="020B0604020202020204" pitchFamily="34" charset="0"/>
                <a:buChar char="•"/>
              </a:pPr>
              <a:r>
                <a:rPr lang="en-US" sz="1199" dirty="0">
                  <a:solidFill>
                    <a:srgbClr val="000000"/>
                  </a:solidFill>
                  <a:ea typeface="Arial Unicode MS" panose="020B0604020202020204" pitchFamily="34" charset="-128"/>
                  <a:cs typeface="Arial Unicode MS" panose="020B0604020202020204" pitchFamily="34" charset="-128"/>
                </a:rPr>
                <a:t>Local load shedding</a:t>
              </a:r>
            </a:p>
            <a:p>
              <a:pPr marL="171364" indent="-171364">
                <a:lnSpc>
                  <a:spcPct val="110000"/>
                </a:lnSpc>
                <a:buFont typeface="Arial" panose="020B0604020202020204" pitchFamily="34" charset="0"/>
                <a:buChar char="•"/>
              </a:pPr>
              <a:r>
                <a:rPr lang="en-US" sz="1199" dirty="0">
                  <a:solidFill>
                    <a:srgbClr val="000000"/>
                  </a:solidFill>
                  <a:ea typeface="Arial Unicode MS" panose="020B0604020202020204" pitchFamily="34" charset="-128"/>
                  <a:cs typeface="Arial Unicode MS" panose="020B0604020202020204" pitchFamily="34" charset="-128"/>
                </a:rPr>
                <a:t>Operational tripping schemes</a:t>
              </a:r>
            </a:p>
            <a:p>
              <a:pPr>
                <a:lnSpc>
                  <a:spcPct val="110000"/>
                </a:lnSpc>
              </a:pPr>
              <a:r>
                <a:rPr lang="en-US" sz="1199" dirty="0">
                  <a:solidFill>
                    <a:srgbClr val="000000"/>
                  </a:solidFill>
                  <a:ea typeface="Arial Unicode MS" panose="020B0604020202020204" pitchFamily="34" charset="-128"/>
                  <a:cs typeface="Arial Unicode MS" panose="020B0604020202020204" pitchFamily="34" charset="-128"/>
                </a:rPr>
                <a:t>    Armed and disarmed from SCADA</a:t>
              </a:r>
            </a:p>
            <a:p>
              <a:pPr>
                <a:lnSpc>
                  <a:spcPct val="110000"/>
                </a:lnSpc>
              </a:pPr>
              <a:r>
                <a:rPr lang="en-US" sz="1199" dirty="0">
                  <a:solidFill>
                    <a:srgbClr val="000000"/>
                  </a:solidFill>
                  <a:ea typeface="Arial Unicode MS" panose="020B0604020202020204" pitchFamily="34" charset="-128"/>
                  <a:cs typeface="Arial Unicode MS" panose="020B0604020202020204" pitchFamily="34" charset="-128"/>
                </a:rPr>
                <a:t> </a:t>
              </a:r>
            </a:p>
          </p:txBody>
        </p:sp>
      </p:grpSp>
      <p:sp>
        <p:nvSpPr>
          <p:cNvPr id="21" name="TextBox 20">
            <a:extLst>
              <a:ext uri="{FF2B5EF4-FFF2-40B4-BE49-F238E27FC236}">
                <a16:creationId xmlns:a16="http://schemas.microsoft.com/office/drawing/2014/main" id="{D59C9205-9531-4C4A-A24B-00E09EDC69D1}"/>
              </a:ext>
            </a:extLst>
          </p:cNvPr>
          <p:cNvSpPr txBox="1"/>
          <p:nvPr/>
        </p:nvSpPr>
        <p:spPr>
          <a:xfrm>
            <a:off x="4167856" y="1202300"/>
            <a:ext cx="5649684" cy="467248"/>
          </a:xfrm>
          <a:prstGeom prst="rect">
            <a:avLst/>
          </a:prstGeom>
          <a:noFill/>
        </p:spPr>
        <p:txBody>
          <a:bodyPr wrap="none" lIns="0" tIns="0" rIns="0" bIns="0" rtlCol="0">
            <a:noAutofit/>
          </a:bodyPr>
          <a:lstStyle/>
          <a:p>
            <a:pPr>
              <a:lnSpc>
                <a:spcPct val="110000"/>
              </a:lnSpc>
            </a:pPr>
            <a:r>
              <a:rPr lang="de-DE" altLang="de-DE" sz="1599" b="1" dirty="0">
                <a:solidFill>
                  <a:srgbClr val="004669"/>
                </a:solidFill>
                <a:latin typeface="Arial" charset="0"/>
                <a:cs typeface="Arial" charset="0"/>
              </a:rPr>
              <a:t>WIDE AREA MONITORING PROTECTION AND CONTROL</a:t>
            </a:r>
            <a:br>
              <a:rPr lang="de-DE" altLang="de-DE" sz="1599" b="1" dirty="0">
                <a:solidFill>
                  <a:srgbClr val="004669"/>
                </a:solidFill>
                <a:latin typeface="Arial" charset="0"/>
                <a:cs typeface="Arial" charset="0"/>
              </a:rPr>
            </a:br>
            <a:r>
              <a:rPr lang="de-DE" altLang="de-DE" sz="1599" b="1" dirty="0">
                <a:solidFill>
                  <a:srgbClr val="004669"/>
                </a:solidFill>
                <a:latin typeface="Arial" charset="0"/>
                <a:cs typeface="Arial" charset="0"/>
              </a:rPr>
              <a:t>                               WAMPAC PMU BASED</a:t>
            </a:r>
            <a:endParaRPr lang="en-US" sz="1599" b="1" dirty="0">
              <a:solidFill>
                <a:srgbClr val="004669"/>
              </a:solidFill>
              <a:ea typeface="Arial Unicode MS" panose="020B0604020202020204" pitchFamily="34" charset="-128"/>
              <a:cs typeface="Arial Unicode MS" panose="020B0604020202020204" pitchFamily="34" charset="-128"/>
            </a:endParaRPr>
          </a:p>
        </p:txBody>
      </p:sp>
      <p:graphicFrame>
        <p:nvGraphicFramePr>
          <p:cNvPr id="24" name="Table 23">
            <a:extLst>
              <a:ext uri="{FF2B5EF4-FFF2-40B4-BE49-F238E27FC236}">
                <a16:creationId xmlns:a16="http://schemas.microsoft.com/office/drawing/2014/main" id="{72217ABE-2AFB-4C77-8903-F02E4527D6A8}"/>
              </a:ext>
            </a:extLst>
          </p:cNvPr>
          <p:cNvGraphicFramePr>
            <a:graphicFrameLocks noGrp="1"/>
          </p:cNvGraphicFramePr>
          <p:nvPr/>
        </p:nvGraphicFramePr>
        <p:xfrm>
          <a:off x="121205" y="1456444"/>
          <a:ext cx="3528762" cy="1591752"/>
        </p:xfrm>
        <a:graphic>
          <a:graphicData uri="http://schemas.openxmlformats.org/drawingml/2006/table">
            <a:tbl>
              <a:tblPr>
                <a:tableStyleId>{5C22544A-7EE6-4342-B048-85BDC9FD1C3A}</a:tableStyleId>
              </a:tblPr>
              <a:tblGrid>
                <a:gridCol w="1459740">
                  <a:extLst>
                    <a:ext uri="{9D8B030D-6E8A-4147-A177-3AD203B41FA5}">
                      <a16:colId xmlns:a16="http://schemas.microsoft.com/office/drawing/2014/main" val="1154686484"/>
                    </a:ext>
                  </a:extLst>
                </a:gridCol>
                <a:gridCol w="2069022">
                  <a:extLst>
                    <a:ext uri="{9D8B030D-6E8A-4147-A177-3AD203B41FA5}">
                      <a16:colId xmlns:a16="http://schemas.microsoft.com/office/drawing/2014/main" val="3582940793"/>
                    </a:ext>
                  </a:extLst>
                </a:gridCol>
              </a:tblGrid>
              <a:tr h="213249">
                <a:tc>
                  <a:txBody>
                    <a:bodyPr/>
                    <a:lstStyle/>
                    <a:p>
                      <a:pPr algn="l" fontAlgn="ctr"/>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dirty="0">
                          <a:effectLst/>
                        </a:rPr>
                        <a:t>PMU BASED </a:t>
                      </a:r>
                      <a:endParaRPr lang="en-US" sz="1200" b="1" i="0" u="none" strike="noStrike" dirty="0">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431640561"/>
                  </a:ext>
                </a:extLst>
              </a:tr>
              <a:tr h="198017">
                <a:tc>
                  <a:txBody>
                    <a:bodyPr/>
                    <a:lstStyle/>
                    <a:p>
                      <a:pPr algn="l" rtl="0" fontAlgn="ctr"/>
                      <a:r>
                        <a:rPr lang="en-US" sz="1200" u="none" strike="noStrike">
                          <a:effectLst/>
                        </a:rPr>
                        <a:t>Voltage / Current</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magnitude and phase</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75645903"/>
                  </a:ext>
                </a:extLst>
              </a:tr>
              <a:tr h="198017">
                <a:tc>
                  <a:txBody>
                    <a:bodyPr/>
                    <a:lstStyle/>
                    <a:p>
                      <a:pPr algn="l" rtl="0" fontAlgn="ctr"/>
                      <a:r>
                        <a:rPr lang="en-US" sz="1200" u="none" strike="noStrike">
                          <a:effectLst/>
                        </a:rPr>
                        <a:t>Frequency</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yes</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2854902365"/>
                  </a:ext>
                </a:extLst>
              </a:tr>
              <a:tr h="198017">
                <a:tc>
                  <a:txBody>
                    <a:bodyPr/>
                    <a:lstStyle/>
                    <a:p>
                      <a:pPr algn="l" rtl="0" fontAlgn="ctr"/>
                      <a:r>
                        <a:rPr lang="en-US" sz="1200" u="none" strike="noStrike">
                          <a:effectLst/>
                        </a:rPr>
                        <a:t>Reporting rate</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dirty="0">
                          <a:effectLst/>
                        </a:rPr>
                        <a:t>up to 100/120 per s</a:t>
                      </a:r>
                      <a:endParaRPr lang="en-US" sz="1200" b="0" i="0" u="none" strike="noStrike" dirty="0">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484055137"/>
                  </a:ext>
                </a:extLst>
              </a:tr>
              <a:tr h="198017">
                <a:tc>
                  <a:txBody>
                    <a:bodyPr/>
                    <a:lstStyle/>
                    <a:p>
                      <a:pPr algn="l" rtl="0" fontAlgn="ctr"/>
                      <a:r>
                        <a:rPr lang="en-US" sz="1200" u="none" strike="noStrike">
                          <a:effectLst/>
                        </a:rPr>
                        <a:t>Simple commands</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 60870-5-104 </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492367101"/>
                  </a:ext>
                </a:extLst>
              </a:tr>
              <a:tr h="198017">
                <a:tc>
                  <a:txBody>
                    <a:bodyPr/>
                    <a:lstStyle/>
                    <a:p>
                      <a:pPr algn="l" rtl="0" fontAlgn="ctr"/>
                      <a:r>
                        <a:rPr lang="en-US" sz="1200" u="none" strike="noStrike" dirty="0">
                          <a:effectLst/>
                        </a:rPr>
                        <a:t>Protocol</a:t>
                      </a:r>
                      <a:endParaRPr lang="en-US" sz="1200" b="0" i="0" u="none" strike="noStrike" dirty="0">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IEEE C37.118</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817684123"/>
                  </a:ext>
                </a:extLst>
              </a:tr>
              <a:tr h="388418">
                <a:tc>
                  <a:txBody>
                    <a:bodyPr/>
                    <a:lstStyle/>
                    <a:p>
                      <a:pPr algn="l" rtl="0" fontAlgn="ctr"/>
                      <a:r>
                        <a:rPr lang="en-US" sz="1200" u="none" strike="noStrike">
                          <a:effectLst/>
                        </a:rPr>
                        <a:t>Time synchronization</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dirty="0">
                          <a:effectLst/>
                        </a:rPr>
                        <a:t>strong (GPS), 5µs accuracy</a:t>
                      </a:r>
                      <a:br>
                        <a:rPr lang="en-US" sz="1200" u="none" strike="noStrike" dirty="0">
                          <a:effectLst/>
                        </a:rPr>
                      </a:br>
                      <a:r>
                        <a:rPr lang="en-US" sz="1200" u="none" strike="noStrike" dirty="0">
                          <a:effectLst/>
                        </a:rPr>
                        <a:t>IRIG-B or IEEE1588</a:t>
                      </a:r>
                      <a:endParaRPr lang="en-US" sz="1200" b="0" i="0" u="none" strike="noStrike" dirty="0">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2956071312"/>
                  </a:ext>
                </a:extLst>
              </a:tr>
            </a:tbl>
          </a:graphicData>
        </a:graphic>
      </p:graphicFrame>
      <p:graphicFrame>
        <p:nvGraphicFramePr>
          <p:cNvPr id="18" name="Table 17">
            <a:extLst>
              <a:ext uri="{FF2B5EF4-FFF2-40B4-BE49-F238E27FC236}">
                <a16:creationId xmlns:a16="http://schemas.microsoft.com/office/drawing/2014/main" id="{D5B7119F-DC88-41E4-822D-39AC5783FFEB}"/>
              </a:ext>
            </a:extLst>
          </p:cNvPr>
          <p:cNvGraphicFramePr>
            <a:graphicFrameLocks noGrp="1"/>
          </p:cNvGraphicFramePr>
          <p:nvPr/>
        </p:nvGraphicFramePr>
        <p:xfrm>
          <a:off x="266388" y="4219048"/>
          <a:ext cx="2741772" cy="1333472"/>
        </p:xfrm>
        <a:graphic>
          <a:graphicData uri="http://schemas.openxmlformats.org/drawingml/2006/table">
            <a:tbl>
              <a:tblPr>
                <a:tableStyleId>{5C22544A-7EE6-4342-B048-85BDC9FD1C3A}</a:tableStyleId>
              </a:tblPr>
              <a:tblGrid>
                <a:gridCol w="1573980">
                  <a:extLst>
                    <a:ext uri="{9D8B030D-6E8A-4147-A177-3AD203B41FA5}">
                      <a16:colId xmlns:a16="http://schemas.microsoft.com/office/drawing/2014/main" val="2089183447"/>
                    </a:ext>
                  </a:extLst>
                </a:gridCol>
                <a:gridCol w="1167792">
                  <a:extLst>
                    <a:ext uri="{9D8B030D-6E8A-4147-A177-3AD203B41FA5}">
                      <a16:colId xmlns:a16="http://schemas.microsoft.com/office/drawing/2014/main" val="2533509832"/>
                    </a:ext>
                  </a:extLst>
                </a:gridCol>
              </a:tblGrid>
              <a:tr h="190401">
                <a:tc>
                  <a:txBody>
                    <a:bodyPr/>
                    <a:lstStyle/>
                    <a:p>
                      <a:pPr algn="l" rtl="0" fontAlgn="ctr"/>
                      <a:r>
                        <a:rPr lang="en-US" sz="1200" u="none" strike="noStrike">
                          <a:effectLst/>
                        </a:rPr>
                        <a:t> </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RTU</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079522330"/>
                  </a:ext>
                </a:extLst>
              </a:tr>
              <a:tr h="190401">
                <a:tc>
                  <a:txBody>
                    <a:bodyPr/>
                    <a:lstStyle/>
                    <a:p>
                      <a:pPr algn="l" rtl="0" fontAlgn="ctr"/>
                      <a:r>
                        <a:rPr lang="en-US" sz="1200" u="none" strike="noStrike">
                          <a:effectLst/>
                        </a:rPr>
                        <a:t>Voltage / Current</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magnitude only</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958511122"/>
                  </a:ext>
                </a:extLst>
              </a:tr>
              <a:tr h="190401">
                <a:tc>
                  <a:txBody>
                    <a:bodyPr/>
                    <a:lstStyle/>
                    <a:p>
                      <a:pPr algn="l" rtl="0" fontAlgn="ctr"/>
                      <a:r>
                        <a:rPr lang="en-US" sz="1200" u="none" strike="noStrike">
                          <a:effectLst/>
                        </a:rPr>
                        <a:t>Frequency</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no</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08217017"/>
                  </a:ext>
                </a:extLst>
              </a:tr>
              <a:tr h="190401">
                <a:tc>
                  <a:txBody>
                    <a:bodyPr/>
                    <a:lstStyle/>
                    <a:p>
                      <a:pPr algn="l" rtl="0" fontAlgn="ctr"/>
                      <a:r>
                        <a:rPr lang="en-US" sz="1200" u="none" strike="noStrike">
                          <a:effectLst/>
                        </a:rPr>
                        <a:t>Reporting rate</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1 per 5…10 s</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446807791"/>
                  </a:ext>
                </a:extLst>
              </a:tr>
              <a:tr h="190401">
                <a:tc>
                  <a:txBody>
                    <a:bodyPr/>
                    <a:lstStyle/>
                    <a:p>
                      <a:pPr algn="l" rtl="0" fontAlgn="ctr"/>
                      <a:r>
                        <a:rPr lang="en-US" sz="1200" u="none" strike="noStrike">
                          <a:effectLst/>
                        </a:rPr>
                        <a:t>Simple commands</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yes</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3168313099"/>
                  </a:ext>
                </a:extLst>
              </a:tr>
              <a:tr h="190401">
                <a:tc>
                  <a:txBody>
                    <a:bodyPr/>
                    <a:lstStyle/>
                    <a:p>
                      <a:pPr algn="l" rtl="0" fontAlgn="ctr"/>
                      <a:r>
                        <a:rPr lang="en-US" sz="1200" u="none" strike="noStrike">
                          <a:effectLst/>
                        </a:rPr>
                        <a:t>Protocol</a:t>
                      </a:r>
                      <a:endParaRPr lang="en-US" sz="1200" b="0" i="0" u="none" strike="noStrike">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a:effectLst/>
                        </a:rPr>
                        <a:t>several</a:t>
                      </a:r>
                      <a:endParaRPr lang="en-US" sz="1200" b="0" i="0" u="none" strike="noStrike">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2434345224"/>
                  </a:ext>
                </a:extLst>
              </a:tr>
              <a:tr h="190401">
                <a:tc>
                  <a:txBody>
                    <a:bodyPr/>
                    <a:lstStyle/>
                    <a:p>
                      <a:pPr algn="l" rtl="0" fontAlgn="ctr"/>
                      <a:r>
                        <a:rPr lang="en-US" sz="1200" u="none" strike="noStrike" dirty="0">
                          <a:effectLst/>
                        </a:rPr>
                        <a:t>Time synchronization</a:t>
                      </a:r>
                      <a:endParaRPr lang="en-US" sz="1200" b="0" i="0" u="none" strike="noStrike" dirty="0">
                        <a:solidFill>
                          <a:srgbClr val="000000"/>
                        </a:solidFill>
                        <a:effectLst/>
                        <a:latin typeface="Arial" panose="020B0604020202020204" pitchFamily="34" charset="0"/>
                      </a:endParaRPr>
                    </a:p>
                  </a:txBody>
                  <a:tcPr marL="91392" marR="7616" marT="7616" marB="0" anchor="ctr"/>
                </a:tc>
                <a:tc>
                  <a:txBody>
                    <a:bodyPr/>
                    <a:lstStyle/>
                    <a:p>
                      <a:pPr algn="l" rtl="0" fontAlgn="ctr"/>
                      <a:r>
                        <a:rPr lang="en-US" sz="1200" u="none" strike="noStrike" dirty="0">
                          <a:effectLst/>
                        </a:rPr>
                        <a:t>1 </a:t>
                      </a:r>
                      <a:r>
                        <a:rPr lang="en-US" sz="1200" u="none" strike="noStrike" dirty="0" err="1">
                          <a:effectLst/>
                        </a:rPr>
                        <a:t>ms</a:t>
                      </a:r>
                      <a:r>
                        <a:rPr lang="en-US" sz="1200" u="none" strike="noStrike" dirty="0">
                          <a:effectLst/>
                        </a:rPr>
                        <a:t> </a:t>
                      </a:r>
                      <a:endParaRPr lang="en-US" sz="1200" b="0" i="0" u="none" strike="noStrike" dirty="0">
                        <a:solidFill>
                          <a:srgbClr val="000000"/>
                        </a:solidFill>
                        <a:effectLst/>
                        <a:latin typeface="Arial" panose="020B0604020202020204" pitchFamily="34" charset="0"/>
                      </a:endParaRPr>
                    </a:p>
                  </a:txBody>
                  <a:tcPr marL="91392" marR="7616" marT="7616" marB="0" anchor="ctr"/>
                </a:tc>
                <a:extLst>
                  <a:ext uri="{0D108BD9-81ED-4DB2-BD59-A6C34878D82A}">
                    <a16:rowId xmlns:a16="http://schemas.microsoft.com/office/drawing/2014/main" val="2679837255"/>
                  </a:ext>
                </a:extLst>
              </a:tr>
            </a:tbl>
          </a:graphicData>
        </a:graphic>
      </p:graphicFrame>
      <p:sp>
        <p:nvSpPr>
          <p:cNvPr id="4" name="Fußzeilenplatzhalter 3">
            <a:extLst>
              <a:ext uri="{FF2B5EF4-FFF2-40B4-BE49-F238E27FC236}">
                <a16:creationId xmlns:a16="http://schemas.microsoft.com/office/drawing/2014/main" id="{26A1D0AF-E6BF-437A-A2E1-1E3853EF10E9}"/>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6C051C23-3A51-4E17-BBB1-B46069BE7CBA}"/>
              </a:ext>
            </a:extLst>
          </p:cNvPr>
          <p:cNvSpPr>
            <a:spLocks noGrp="1"/>
          </p:cNvSpPr>
          <p:nvPr>
            <p:ph type="sldNum" sz="quarter" idx="11"/>
          </p:nvPr>
        </p:nvSpPr>
        <p:spPr/>
        <p:txBody>
          <a:bodyPr/>
          <a:lstStyle/>
          <a:p>
            <a:r>
              <a:rPr lang="en-US"/>
              <a:t>Page </a:t>
            </a:r>
            <a:fld id="{15EBE321-CBB1-4E91-BD14-37C8D44326FB}" type="slidenum">
              <a:rPr lang="en-US" smtClean="0"/>
              <a:pPr/>
              <a:t>21</a:t>
            </a:fld>
            <a:endParaRPr lang="en-US" dirty="0"/>
          </a:p>
        </p:txBody>
      </p:sp>
    </p:spTree>
    <p:extLst>
      <p:ext uri="{BB962C8B-B14F-4D97-AF65-F5344CB8AC3E}">
        <p14:creationId xmlns:p14="http://schemas.microsoft.com/office/powerpoint/2010/main" val="3981371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barn(inVertical)">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inVertic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barn(inVertical)">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grpId="0"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barn(inVertical)">
                                      <p:cBhvr>
                                        <p:cTn id="22" dur="500"/>
                                        <p:tgtEl>
                                          <p:spTgt spid="13"/>
                                        </p:tgtEl>
                                      </p:cBhvr>
                                    </p:animEffect>
                                  </p:childTnLst>
                                </p:cTn>
                              </p:par>
                            </p:childTnLst>
                          </p:cTn>
                        </p:par>
                      </p:childTnLst>
                    </p:cTn>
                  </p:par>
                  <p:par>
                    <p:cTn id="23" fill="hold">
                      <p:stCondLst>
                        <p:cond delay="indefinite"/>
                      </p:stCondLst>
                      <p:childTnLst>
                        <p:par>
                          <p:cTn id="24" fill="hold">
                            <p:stCondLst>
                              <p:cond delay="0"/>
                            </p:stCondLst>
                            <p:childTnLst>
                              <p:par>
                                <p:cTn id="25" presetID="16" presetClass="entr" presetSubtype="21" fill="hold" grpId="0"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barn(inVertical)">
                                      <p:cBhvr>
                                        <p:cTn id="27" dur="500"/>
                                        <p:tgtEl>
                                          <p:spTgt spid="14"/>
                                        </p:tgtEl>
                                      </p:cBhvr>
                                    </p:animEffect>
                                  </p:childTnLst>
                                </p:cTn>
                              </p:par>
                            </p:childTnLst>
                          </p:cTn>
                        </p:par>
                      </p:childTnLst>
                    </p:cTn>
                  </p:par>
                  <p:par>
                    <p:cTn id="28" fill="hold">
                      <p:stCondLst>
                        <p:cond delay="indefinite"/>
                      </p:stCondLst>
                      <p:childTnLst>
                        <p:par>
                          <p:cTn id="29" fill="hold">
                            <p:stCondLst>
                              <p:cond delay="0"/>
                            </p:stCondLst>
                            <p:childTnLst>
                              <p:par>
                                <p:cTn id="30" presetID="16" presetClass="entr" presetSubtype="21" fill="hold" grpId="0" nodeType="click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barn(inVertical)">
                                      <p:cBhvr>
                                        <p:cTn id="32" dur="500"/>
                                        <p:tgtEl>
                                          <p:spTgt spid="15"/>
                                        </p:tgtEl>
                                      </p:cBhvr>
                                    </p:animEffect>
                                  </p:childTnLst>
                                </p:cTn>
                              </p:par>
                            </p:childTnLst>
                          </p:cTn>
                        </p:par>
                      </p:childTnLst>
                    </p:cTn>
                  </p:par>
                  <p:par>
                    <p:cTn id="33" fill="hold">
                      <p:stCondLst>
                        <p:cond delay="indefinite"/>
                      </p:stCondLst>
                      <p:childTnLst>
                        <p:par>
                          <p:cTn id="34" fill="hold">
                            <p:stCondLst>
                              <p:cond delay="0"/>
                            </p:stCondLst>
                            <p:childTnLst>
                              <p:par>
                                <p:cTn id="35" presetID="16" presetClass="entr" presetSubtype="21" fill="hold" nodeType="clickEffect">
                                  <p:stCondLst>
                                    <p:cond delay="0"/>
                                  </p:stCondLst>
                                  <p:childTnLst>
                                    <p:set>
                                      <p:cBhvr>
                                        <p:cTn id="36" dur="1" fill="hold">
                                          <p:stCondLst>
                                            <p:cond delay="0"/>
                                          </p:stCondLst>
                                        </p:cTn>
                                        <p:tgtEl>
                                          <p:spTgt spid="24"/>
                                        </p:tgtEl>
                                        <p:attrNameLst>
                                          <p:attrName>style.visibility</p:attrName>
                                        </p:attrNameLst>
                                      </p:cBhvr>
                                      <p:to>
                                        <p:strVal val="visible"/>
                                      </p:to>
                                    </p:set>
                                    <p:animEffect transition="in" filter="barn(inVertical)">
                                      <p:cBhvr>
                                        <p:cTn id="37" dur="500"/>
                                        <p:tgtEl>
                                          <p:spTgt spid="24"/>
                                        </p:tgtEl>
                                      </p:cBhvr>
                                    </p:animEffec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barn(inVertical)">
                                      <p:cBhvr>
                                        <p:cTn id="42" dur="500"/>
                                        <p:tgtEl>
                                          <p:spTgt spid="18"/>
                                        </p:tgtEl>
                                      </p:cBhvr>
                                    </p:animEffect>
                                  </p:childTnLst>
                                </p:cTn>
                              </p:par>
                              <p:par>
                                <p:cTn id="43" presetID="16" presetClass="entr" presetSubtype="21" fill="hold" nodeType="withEffect">
                                  <p:stCondLst>
                                    <p:cond delay="0"/>
                                  </p:stCondLst>
                                  <p:childTnLst>
                                    <p:set>
                                      <p:cBhvr>
                                        <p:cTn id="44" dur="1" fill="hold">
                                          <p:stCondLst>
                                            <p:cond delay="0"/>
                                          </p:stCondLst>
                                        </p:cTn>
                                        <p:tgtEl>
                                          <p:spTgt spid="22"/>
                                        </p:tgtEl>
                                        <p:attrNameLst>
                                          <p:attrName>style.visibility</p:attrName>
                                        </p:attrNameLst>
                                      </p:cBhvr>
                                      <p:to>
                                        <p:strVal val="visible"/>
                                      </p:to>
                                    </p:set>
                                    <p:animEffect transition="in" filter="barn(inVertical)">
                                      <p:cBhvr>
                                        <p:cTn id="4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2" grpId="0"/>
      <p:bldP spid="13" grpId="0"/>
      <p:bldP spid="14" grpId="0"/>
      <p:bldP spid="1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8B6D41DA-100A-49D6-9EE9-2F2A69C2C35C}"/>
              </a:ext>
            </a:extLst>
          </p:cNvPr>
          <p:cNvSpPr>
            <a:spLocks noGrp="1"/>
          </p:cNvSpPr>
          <p:nvPr>
            <p:ph type="title"/>
          </p:nvPr>
        </p:nvSpPr>
        <p:spPr/>
        <p:txBody>
          <a:bodyPr/>
          <a:lstStyle/>
          <a:p>
            <a:r>
              <a:rPr lang="de-DE" dirty="0"/>
              <a:t>SIGUARD PDP</a:t>
            </a:r>
            <a:br>
              <a:rPr lang="de-DE" dirty="0"/>
            </a:br>
            <a:r>
              <a:rPr lang="en-US" b="0" dirty="0"/>
              <a:t>Wide area PROTECTION system</a:t>
            </a:r>
            <a:br>
              <a:rPr lang="en-US" b="0" dirty="0"/>
            </a:br>
            <a:endParaRPr lang="de-DE" b="0" dirty="0"/>
          </a:p>
        </p:txBody>
      </p:sp>
      <p:pic>
        <p:nvPicPr>
          <p:cNvPr id="45" name="Grafik 44">
            <a:extLst>
              <a:ext uri="{FF2B5EF4-FFF2-40B4-BE49-F238E27FC236}">
                <a16:creationId xmlns:a16="http://schemas.microsoft.com/office/drawing/2014/main" id="{C1007981-E1C4-4510-A9C4-2ECBA83DEC24}"/>
              </a:ext>
            </a:extLst>
          </p:cNvPr>
          <p:cNvPicPr>
            <a:picLocks noChangeAspect="1"/>
          </p:cNvPicPr>
          <p:nvPr/>
        </p:nvPicPr>
        <p:blipFill>
          <a:blip r:embed="rId3">
            <a:extLst>
              <a:ext uri="{BEBA8EAE-BF5A-486C-A8C5-ECC9F3942E4B}">
                <a14:imgProps xmlns:a14="http://schemas.microsoft.com/office/drawing/2010/main">
                  <a14:imgLayer r:embed="rId4">
                    <a14:imgEffect>
                      <a14:colorTemperature colorTemp="1500"/>
                    </a14:imgEffect>
                    <a14:imgEffect>
                      <a14:saturation sat="0"/>
                    </a14:imgEffect>
                  </a14:imgLayer>
                </a14:imgProps>
              </a:ext>
            </a:extLst>
          </a:blip>
          <a:stretch>
            <a:fillRect/>
          </a:stretch>
        </p:blipFill>
        <p:spPr>
          <a:xfrm>
            <a:off x="15537010" y="4511814"/>
            <a:ext cx="719625" cy="719625"/>
          </a:xfrm>
          <a:prstGeom prst="rect">
            <a:avLst/>
          </a:prstGeom>
          <a:ln>
            <a:solidFill>
              <a:schemeClr val="tx1"/>
            </a:solidFill>
          </a:ln>
        </p:spPr>
      </p:pic>
      <p:sp>
        <p:nvSpPr>
          <p:cNvPr id="2" name="Textfeld 1">
            <a:extLst>
              <a:ext uri="{FF2B5EF4-FFF2-40B4-BE49-F238E27FC236}">
                <a16:creationId xmlns:a16="http://schemas.microsoft.com/office/drawing/2014/main" id="{AF4684F4-49F0-40E7-B481-648B4DA1004B}"/>
              </a:ext>
            </a:extLst>
          </p:cNvPr>
          <p:cNvSpPr txBox="1"/>
          <p:nvPr>
            <p:custDataLst>
              <p:tags r:id="rId1"/>
            </p:custDataLst>
          </p:nvPr>
        </p:nvSpPr>
        <p:spPr>
          <a:xfrm>
            <a:off x="626737" y="1453447"/>
            <a:ext cx="5842412" cy="5402768"/>
          </a:xfrm>
          <a:prstGeom prst="rect">
            <a:avLst/>
          </a:prstGeom>
          <a:noFill/>
        </p:spPr>
        <p:txBody>
          <a:bodyPr wrap="square" lIns="0" tIns="0" rIns="0" bIns="0" rtlCol="0" anchor="t">
            <a:noAutofit/>
          </a:bodyPr>
          <a:lstStyle>
            <a:lvl1pPr marL="179388" indent="-180000" algn="l" rtl="0" eaLnBrk="1" fontAlgn="base" hangingPunct="1">
              <a:buClr>
                <a:srgbClr val="879BAA"/>
              </a:buClr>
              <a:buChar char="•"/>
            </a:lvl1pPr>
            <a:lvl2pPr marL="179388" indent="-180000" algn="l" rtl="0" eaLnBrk="1" fontAlgn="base" hangingPunct="1">
              <a:buClr>
                <a:srgbClr val="879BAA"/>
              </a:buClr>
              <a:buChar char="•"/>
            </a:lvl2pPr>
            <a:lvl3pPr marL="358775" indent="-180000" algn="l" rtl="0" eaLnBrk="1" fontAlgn="base" hangingPunct="1">
              <a:buClr>
                <a:srgbClr val="879BAA"/>
              </a:buClr>
              <a:buChar char="•"/>
            </a:lvl3pPr>
            <a:lvl4pPr marL="538163" indent="-180000" algn="l" rtl="0" eaLnBrk="1" fontAlgn="base" hangingPunct="1">
              <a:buClr>
                <a:srgbClr val="879BAA"/>
              </a:buClr>
              <a:buChar char="•"/>
            </a:lvl4pPr>
            <a:lvl5pPr marL="720000" indent="-180000" algn="l" rtl="0" eaLnBrk="1" fontAlgn="base" hangingPunct="1">
              <a:buClr>
                <a:srgbClr val="879BAA"/>
              </a:buClr>
              <a:buChar char="•"/>
            </a:lvl5pPr>
          </a:lstStyle>
          <a:p>
            <a:pPr>
              <a:lnSpc>
                <a:spcPct val="150000"/>
              </a:lnSpc>
            </a:pPr>
            <a:r>
              <a:rPr lang="en-US" sz="1599" dirty="0">
                <a:ea typeface="Arial Unicode MS"/>
                <a:cs typeface="Arial Unicode MS"/>
              </a:rPr>
              <a:t>Identify power system contingencies based on customized calculations </a:t>
            </a:r>
          </a:p>
          <a:p>
            <a:pPr>
              <a:lnSpc>
                <a:spcPct val="150000"/>
              </a:lnSpc>
            </a:pPr>
            <a:r>
              <a:rPr lang="en-US" sz="1599" dirty="0">
                <a:ea typeface="Arial Unicode MS"/>
                <a:cs typeface="Arial"/>
              </a:rPr>
              <a:t>Analyze and evaluate with intuitive user interface</a:t>
            </a:r>
            <a:endParaRPr lang="en-US" sz="1599" dirty="0">
              <a:ea typeface="Arial Unicode MS" panose="020B0604020202020204" pitchFamily="34" charset="-128"/>
              <a:cs typeface="Arial Unicode MS" panose="020B0604020202020204" pitchFamily="34" charset="-128"/>
            </a:endParaRPr>
          </a:p>
          <a:p>
            <a:pPr>
              <a:lnSpc>
                <a:spcPct val="150000"/>
              </a:lnSpc>
            </a:pPr>
            <a:r>
              <a:rPr lang="en-US" sz="1599" dirty="0">
                <a:ea typeface="Arial Unicode MS"/>
                <a:cs typeface="Arial Unicode MS"/>
              </a:rPr>
              <a:t>From remedial action schemes to Wide Area Protection Systems in one step</a:t>
            </a:r>
          </a:p>
          <a:p>
            <a:pPr>
              <a:lnSpc>
                <a:spcPct val="150000"/>
              </a:lnSpc>
            </a:pPr>
            <a:r>
              <a:rPr lang="en-US" sz="1599" dirty="0">
                <a:ea typeface="Arial Unicode MS"/>
                <a:cs typeface="Arial"/>
              </a:rPr>
              <a:t>Commands from SICAM A8000 to PMU´s via IEC 61850 GOOSE</a:t>
            </a:r>
          </a:p>
          <a:p>
            <a:pPr>
              <a:lnSpc>
                <a:spcPct val="150000"/>
              </a:lnSpc>
            </a:pPr>
            <a:r>
              <a:rPr lang="en-US" sz="1599" dirty="0">
                <a:ea typeface="Arial Unicode MS"/>
                <a:cs typeface="Arial"/>
              </a:rPr>
              <a:t>Control and visualization of the system with SICAM SCC</a:t>
            </a:r>
          </a:p>
          <a:p>
            <a:pPr>
              <a:lnSpc>
                <a:spcPct val="150000"/>
              </a:lnSpc>
            </a:pPr>
            <a:r>
              <a:rPr lang="en-US" sz="1599" dirty="0">
                <a:ea typeface="Arial Unicode MS"/>
                <a:cs typeface="Arial Unicode MS"/>
              </a:rPr>
              <a:t>Transfer of PMU data via C37.118 to the PDC</a:t>
            </a:r>
          </a:p>
          <a:p>
            <a:pPr>
              <a:lnSpc>
                <a:spcPct val="150000"/>
              </a:lnSpc>
            </a:pPr>
            <a:r>
              <a:rPr lang="en-US" sz="1599" dirty="0">
                <a:ea typeface="Arial Unicode MS"/>
                <a:cs typeface="Arial Unicode MS"/>
              </a:rPr>
              <a:t>Simple configuration of the SIPROTEC 5 PMUs with DIGSI 5</a:t>
            </a:r>
          </a:p>
          <a:p>
            <a:pPr>
              <a:lnSpc>
                <a:spcPct val="150000"/>
              </a:lnSpc>
              <a:buNone/>
            </a:pPr>
            <a:endParaRPr lang="en-US" sz="1599" dirty="0">
              <a:ea typeface="Arial Unicode MS"/>
              <a:cs typeface="Arial Unicode MS"/>
            </a:endParaRPr>
          </a:p>
        </p:txBody>
      </p:sp>
      <p:sp>
        <p:nvSpPr>
          <p:cNvPr id="6" name="Rechteck 5">
            <a:extLst>
              <a:ext uri="{FF2B5EF4-FFF2-40B4-BE49-F238E27FC236}">
                <a16:creationId xmlns:a16="http://schemas.microsoft.com/office/drawing/2014/main" id="{B0CE08D5-1374-465A-BD30-B5D7F577D8B3}"/>
              </a:ext>
            </a:extLst>
          </p:cNvPr>
          <p:cNvSpPr>
            <a:spLocks/>
          </p:cNvSpPr>
          <p:nvPr/>
        </p:nvSpPr>
        <p:spPr bwMode="auto">
          <a:xfrm>
            <a:off x="626737" y="5231440"/>
            <a:ext cx="6406894" cy="967893"/>
          </a:xfrm>
          <a:prstGeom prst="rect">
            <a:avLst/>
          </a:prstGeom>
          <a:gradFill>
            <a:gsLst>
              <a:gs pos="83000">
                <a:srgbClr val="0099B0">
                  <a:alpha val="85000"/>
                </a:srgbClr>
              </a:gs>
              <a:gs pos="50000">
                <a:srgbClr val="009999">
                  <a:alpha val="85000"/>
                </a:srgbClr>
              </a:gs>
              <a:gs pos="0">
                <a:srgbClr val="50BEBE">
                  <a:alpha val="85000"/>
                </a:srgbClr>
              </a:gs>
              <a:gs pos="100000">
                <a:srgbClr val="0099CB">
                  <a:alpha val="85000"/>
                </a:srgbClr>
              </a:gs>
            </a:gsLst>
            <a:lin ang="0" scaled="0"/>
          </a:gradFill>
          <a:ln w="9525">
            <a:noFill/>
            <a:miter lim="800000"/>
            <a:headEnd/>
            <a:tailEnd/>
          </a:ln>
        </p:spPr>
        <p:txBody>
          <a:bodyPr vert="horz" wrap="square" lIns="107944" tIns="71963" rIns="107944" bIns="71963" numCol="1" spcCol="108000" anchor="t" anchorCtr="0" compatLnSpc="1">
            <a:prstTxWarp prst="textNoShape">
              <a:avLst/>
            </a:prstTxWarp>
            <a:noAutofit/>
          </a:bodyPr>
          <a:lstStyle/>
          <a:p>
            <a:pPr>
              <a:spcBef>
                <a:spcPct val="0"/>
              </a:spcBef>
              <a:buClr>
                <a:schemeClr val="bg1"/>
              </a:buClr>
            </a:pPr>
            <a:r>
              <a:rPr lang="en-US" sz="1799" dirty="0">
                <a:solidFill>
                  <a:schemeClr val="bg1"/>
                </a:solidFill>
                <a:ea typeface="Arial Unicode MS"/>
                <a:cs typeface="Arial Unicode MS"/>
              </a:rPr>
              <a:t>SIPROTEC 5 PMU and SIGUARD PDP are the building blocks, providing all the required functions to creating a smart Wide Area Protection system</a:t>
            </a:r>
          </a:p>
        </p:txBody>
      </p:sp>
      <p:pic>
        <p:nvPicPr>
          <p:cNvPr id="5" name="Picture 4">
            <a:extLst>
              <a:ext uri="{FF2B5EF4-FFF2-40B4-BE49-F238E27FC236}">
                <a16:creationId xmlns:a16="http://schemas.microsoft.com/office/drawing/2014/main" id="{D29FC1B7-5929-4FC1-BA8C-BAC521F2E4A3}"/>
              </a:ext>
            </a:extLst>
          </p:cNvPr>
          <p:cNvPicPr>
            <a:picLocks noChangeAspect="1"/>
          </p:cNvPicPr>
          <p:nvPr/>
        </p:nvPicPr>
        <p:blipFill>
          <a:blip r:embed="rId5"/>
          <a:stretch>
            <a:fillRect/>
          </a:stretch>
        </p:blipFill>
        <p:spPr>
          <a:xfrm>
            <a:off x="7033631" y="1634126"/>
            <a:ext cx="4448876" cy="3573969"/>
          </a:xfrm>
          <a:prstGeom prst="rect">
            <a:avLst/>
          </a:prstGeom>
        </p:spPr>
      </p:pic>
      <p:sp>
        <p:nvSpPr>
          <p:cNvPr id="3" name="Fußzeilenplatzhalter 2">
            <a:extLst>
              <a:ext uri="{FF2B5EF4-FFF2-40B4-BE49-F238E27FC236}">
                <a16:creationId xmlns:a16="http://schemas.microsoft.com/office/drawing/2014/main" id="{B49C583F-DAFA-489E-9199-2C8F38A7E4FF}"/>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7" name="Foliennummernplatzhalter 6">
            <a:extLst>
              <a:ext uri="{FF2B5EF4-FFF2-40B4-BE49-F238E27FC236}">
                <a16:creationId xmlns:a16="http://schemas.microsoft.com/office/drawing/2014/main" id="{DD240008-01BB-4C00-B7BE-16B99649A207}"/>
              </a:ext>
            </a:extLst>
          </p:cNvPr>
          <p:cNvSpPr>
            <a:spLocks noGrp="1"/>
          </p:cNvSpPr>
          <p:nvPr>
            <p:ph type="sldNum" sz="quarter" idx="11"/>
          </p:nvPr>
        </p:nvSpPr>
        <p:spPr/>
        <p:txBody>
          <a:bodyPr/>
          <a:lstStyle/>
          <a:p>
            <a:r>
              <a:rPr lang="en-US"/>
              <a:t>Page </a:t>
            </a:r>
            <a:fld id="{15EBE321-CBB1-4E91-BD14-37C8D44326FB}" type="slidenum">
              <a:rPr lang="en-US" smtClean="0"/>
              <a:pPr/>
              <a:t>22</a:t>
            </a:fld>
            <a:endParaRPr lang="en-US" dirty="0"/>
          </a:p>
        </p:txBody>
      </p:sp>
    </p:spTree>
    <p:extLst>
      <p:ext uri="{BB962C8B-B14F-4D97-AF65-F5344CB8AC3E}">
        <p14:creationId xmlns:p14="http://schemas.microsoft.com/office/powerpoint/2010/main" val="12258817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B5E88E10-3AC9-4A42-A47F-DD0709FB4683}"/>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3" name="Objekt 2" hidden="1">
                        <a:extLst>
                          <a:ext uri="{FF2B5EF4-FFF2-40B4-BE49-F238E27FC236}">
                            <a16:creationId xmlns:a16="http://schemas.microsoft.com/office/drawing/2014/main" id="{B5E88E10-3AC9-4A42-A47F-DD0709FB4683}"/>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FE285A8-1600-4613-8D81-D8E64FA9A09A}"/>
              </a:ext>
            </a:extLst>
          </p:cNvPr>
          <p:cNvSpPr/>
          <p:nvPr>
            <p:custDataLst>
              <p:tags r:id="rId2"/>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0" tIns="0" rIns="0" bIns="0" numCol="1" spcCol="0" rtlCol="0" anchor="ctr" anchorCtr="0">
            <a:noAutofit/>
          </a:bodyPr>
          <a:lstStyle/>
          <a:p>
            <a:pPr algn="ctr">
              <a:spcBef>
                <a:spcPct val="0"/>
              </a:spcBef>
            </a:pPr>
            <a:endParaRPr lang="en-US" sz="2199" b="1" dirty="0">
              <a:ea typeface="+mj-ea"/>
              <a:cs typeface="Arial" panose="020B0604020202020204" pitchFamily="34" charset="0"/>
              <a:sym typeface="Arial" panose="020B0604020202020204" pitchFamily="34" charset="0"/>
            </a:endParaRPr>
          </a:p>
        </p:txBody>
      </p:sp>
      <p:sp>
        <p:nvSpPr>
          <p:cNvPr id="1381378" name="Rectangle 2"/>
          <p:cNvSpPr>
            <a:spLocks noGrp="1" noChangeArrowheads="1"/>
          </p:cNvSpPr>
          <p:nvPr>
            <p:ph type="title"/>
          </p:nvPr>
        </p:nvSpPr>
        <p:spPr/>
        <p:txBody>
          <a:bodyPr/>
          <a:lstStyle/>
          <a:p>
            <a:r>
              <a:rPr lang="en-US" dirty="0"/>
              <a:t>SIGUARD PDP WAMPAC</a:t>
            </a:r>
            <a:br>
              <a:rPr lang="en-US" dirty="0"/>
            </a:br>
            <a:r>
              <a:rPr lang="en-US" dirty="0"/>
              <a:t>Components</a:t>
            </a:r>
          </a:p>
        </p:txBody>
      </p:sp>
      <p:sp>
        <p:nvSpPr>
          <p:cNvPr id="4" name="Rectangle 5">
            <a:extLst>
              <a:ext uri="{FF2B5EF4-FFF2-40B4-BE49-F238E27FC236}">
                <a16:creationId xmlns:a16="http://schemas.microsoft.com/office/drawing/2014/main" id="{62C3FFF4-8E2C-48AB-B499-C4002664A2E1}"/>
              </a:ext>
            </a:extLst>
          </p:cNvPr>
          <p:cNvSpPr>
            <a:spLocks noChangeArrowheads="1"/>
          </p:cNvSpPr>
          <p:nvPr/>
        </p:nvSpPr>
        <p:spPr bwMode="auto">
          <a:xfrm flipV="1">
            <a:off x="3125875" y="-299094"/>
            <a:ext cx="6537476" cy="369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392" tIns="45696" rIns="91392" bIns="45696" numCol="1" anchor="ctr" anchorCtr="0" compatLnSpc="1">
            <a:prstTxWarp prst="textNoShape">
              <a:avLst/>
            </a:prstTxWarp>
            <a:spAutoFit/>
          </a:bodyPr>
          <a:lstStyle/>
          <a:p>
            <a:endParaRPr lang="en-US" sz="1799"/>
          </a:p>
        </p:txBody>
      </p:sp>
      <p:sp>
        <p:nvSpPr>
          <p:cNvPr id="5" name="TextBox 4">
            <a:extLst>
              <a:ext uri="{FF2B5EF4-FFF2-40B4-BE49-F238E27FC236}">
                <a16:creationId xmlns:a16="http://schemas.microsoft.com/office/drawing/2014/main" id="{0D5FF648-57FD-4FFE-9D2C-FE81D28EA2B0}"/>
              </a:ext>
            </a:extLst>
          </p:cNvPr>
          <p:cNvSpPr txBox="1"/>
          <p:nvPr/>
        </p:nvSpPr>
        <p:spPr>
          <a:xfrm>
            <a:off x="704200" y="2179344"/>
            <a:ext cx="3464058" cy="247918"/>
          </a:xfrm>
          <a:prstGeom prst="rect">
            <a:avLst/>
          </a:prstGeom>
          <a:noFill/>
        </p:spPr>
        <p:txBody>
          <a:bodyPr wrap="none" lIns="0" tIns="0" rIns="0" bIns="0" rtlCol="0">
            <a:noAutofit/>
          </a:bodyPr>
          <a:lstStyle/>
          <a:p>
            <a:pPr>
              <a:lnSpc>
                <a:spcPct val="110000"/>
              </a:lnSpc>
            </a:pPr>
            <a:r>
              <a:rPr lang="de-DE" sz="1199" dirty="0">
                <a:ea typeface="Arial Unicode MS" panose="020B0604020202020204" pitchFamily="34" charset="-128"/>
                <a:cs typeface="Arial Unicode MS" panose="020B0604020202020204" pitchFamily="34" charset="-128"/>
              </a:rPr>
              <a:t>1. </a:t>
            </a:r>
            <a:r>
              <a:rPr lang="de-DE" sz="1199" dirty="0" err="1">
                <a:solidFill>
                  <a:schemeClr val="accent5">
                    <a:lumMod val="75000"/>
                  </a:schemeClr>
                </a:solidFill>
                <a:ea typeface="Arial Unicode MS" panose="020B0604020202020204" pitchFamily="34" charset="-128"/>
                <a:cs typeface="Arial Unicode MS" panose="020B0604020202020204" pitchFamily="34" charset="-128"/>
              </a:rPr>
              <a:t>Phasor</a:t>
            </a:r>
            <a:r>
              <a:rPr lang="de-DE" sz="1199" dirty="0">
                <a:solidFill>
                  <a:schemeClr val="accent5">
                    <a:lumMod val="75000"/>
                  </a:schemeClr>
                </a:solidFill>
                <a:ea typeface="Arial Unicode MS" panose="020B0604020202020204" pitchFamily="34" charset="-128"/>
                <a:cs typeface="Arial Unicode MS" panose="020B0604020202020204" pitchFamily="34" charset="-128"/>
              </a:rPr>
              <a:t> </a:t>
            </a:r>
            <a:r>
              <a:rPr lang="de-DE" sz="1199" dirty="0" err="1">
                <a:solidFill>
                  <a:schemeClr val="accent5">
                    <a:lumMod val="75000"/>
                  </a:schemeClr>
                </a:solidFill>
                <a:ea typeface="Arial Unicode MS" panose="020B0604020202020204" pitchFamily="34" charset="-128"/>
                <a:cs typeface="Arial Unicode MS" panose="020B0604020202020204" pitchFamily="34" charset="-128"/>
              </a:rPr>
              <a:t>measurement</a:t>
            </a:r>
            <a:r>
              <a:rPr lang="de-DE" sz="1199" dirty="0">
                <a:solidFill>
                  <a:schemeClr val="accent5">
                    <a:lumMod val="75000"/>
                  </a:schemeClr>
                </a:solidFill>
                <a:ea typeface="Arial Unicode MS" panose="020B0604020202020204" pitchFamily="34" charset="-128"/>
                <a:cs typeface="Arial Unicode MS" panose="020B0604020202020204" pitchFamily="34" charset="-128"/>
              </a:rPr>
              <a:t> </a:t>
            </a:r>
            <a:r>
              <a:rPr lang="de-DE" sz="1199" dirty="0" err="1">
                <a:solidFill>
                  <a:schemeClr val="accent5">
                    <a:lumMod val="75000"/>
                  </a:schemeClr>
                </a:solidFill>
                <a:ea typeface="Arial Unicode MS" panose="020B0604020202020204" pitchFamily="34" charset="-128"/>
                <a:cs typeface="Arial Unicode MS" panose="020B0604020202020204" pitchFamily="34" charset="-128"/>
              </a:rPr>
              <a:t>units</a:t>
            </a:r>
            <a:r>
              <a:rPr lang="de-DE" sz="1199" dirty="0">
                <a:solidFill>
                  <a:schemeClr val="accent5">
                    <a:lumMod val="75000"/>
                  </a:schemeClr>
                </a:solidFill>
                <a:ea typeface="Arial Unicode MS" panose="020B0604020202020204" pitchFamily="34" charset="-128"/>
                <a:cs typeface="Arial Unicode MS" panose="020B0604020202020204" pitchFamily="34" charset="-128"/>
              </a:rPr>
              <a:t>  PMUs</a:t>
            </a:r>
            <a:endParaRPr lang="en-US" sz="1199" dirty="0">
              <a:solidFill>
                <a:schemeClr val="accent5">
                  <a:lumMod val="75000"/>
                </a:schemeClr>
              </a:solidFill>
              <a:ea typeface="Arial Unicode MS" panose="020B0604020202020204" pitchFamily="34" charset="-128"/>
              <a:cs typeface="Arial Unicode MS" panose="020B0604020202020204" pitchFamily="34" charset="-128"/>
            </a:endParaRPr>
          </a:p>
        </p:txBody>
      </p:sp>
      <p:sp>
        <p:nvSpPr>
          <p:cNvPr id="20" name="TextBox 19">
            <a:extLst>
              <a:ext uri="{FF2B5EF4-FFF2-40B4-BE49-F238E27FC236}">
                <a16:creationId xmlns:a16="http://schemas.microsoft.com/office/drawing/2014/main" id="{FFD74788-C2A0-4418-BF49-2C55EB000519}"/>
              </a:ext>
            </a:extLst>
          </p:cNvPr>
          <p:cNvSpPr txBox="1"/>
          <p:nvPr/>
        </p:nvSpPr>
        <p:spPr>
          <a:xfrm>
            <a:off x="704200" y="2452457"/>
            <a:ext cx="3464058" cy="247918"/>
          </a:xfrm>
          <a:prstGeom prst="rect">
            <a:avLst/>
          </a:prstGeom>
          <a:noFill/>
        </p:spPr>
        <p:txBody>
          <a:bodyPr wrap="none" lIns="0" tIns="0" rIns="0" bIns="0" rtlCol="0">
            <a:noAutofit/>
          </a:bodyPr>
          <a:lstStyle/>
          <a:p>
            <a:pPr>
              <a:lnSpc>
                <a:spcPct val="110000"/>
              </a:lnSpc>
            </a:pPr>
            <a:r>
              <a:rPr lang="de-DE" sz="1199" dirty="0">
                <a:ea typeface="Arial Unicode MS" panose="020B0604020202020204" pitchFamily="34" charset="-128"/>
                <a:cs typeface="Arial Unicode MS" panose="020B0604020202020204" pitchFamily="34" charset="-128"/>
              </a:rPr>
              <a:t>2. </a:t>
            </a:r>
            <a:r>
              <a:rPr lang="de-DE" sz="1199" dirty="0" err="1">
                <a:solidFill>
                  <a:schemeClr val="accent5">
                    <a:lumMod val="75000"/>
                  </a:schemeClr>
                </a:solidFill>
                <a:ea typeface="Arial Unicode MS" panose="020B0604020202020204" pitchFamily="34" charset="-128"/>
                <a:cs typeface="Arial Unicode MS" panose="020B0604020202020204" pitchFamily="34" charset="-128"/>
              </a:rPr>
              <a:t>Phasor</a:t>
            </a:r>
            <a:r>
              <a:rPr lang="de-DE" sz="1199" dirty="0">
                <a:solidFill>
                  <a:schemeClr val="accent5">
                    <a:lumMod val="75000"/>
                  </a:schemeClr>
                </a:solidFill>
                <a:ea typeface="Arial Unicode MS" panose="020B0604020202020204" pitchFamily="34" charset="-128"/>
                <a:cs typeface="Arial Unicode MS" panose="020B0604020202020204" pitchFamily="34" charset="-128"/>
              </a:rPr>
              <a:t> Data </a:t>
            </a:r>
            <a:r>
              <a:rPr lang="de-DE" sz="1199" dirty="0" err="1">
                <a:solidFill>
                  <a:schemeClr val="accent5">
                    <a:lumMod val="75000"/>
                  </a:schemeClr>
                </a:solidFill>
                <a:ea typeface="Arial Unicode MS" panose="020B0604020202020204" pitchFamily="34" charset="-128"/>
                <a:cs typeface="Arial Unicode MS" panose="020B0604020202020204" pitchFamily="34" charset="-128"/>
              </a:rPr>
              <a:t>Procesor</a:t>
            </a:r>
            <a:r>
              <a:rPr lang="de-DE" sz="1199" dirty="0">
                <a:solidFill>
                  <a:schemeClr val="accent5">
                    <a:lumMod val="75000"/>
                  </a:schemeClr>
                </a:solidFill>
                <a:ea typeface="Arial Unicode MS" panose="020B0604020202020204" pitchFamily="34" charset="-128"/>
                <a:cs typeface="Arial Unicode MS" panose="020B0604020202020204" pitchFamily="34" charset="-128"/>
              </a:rPr>
              <a:t>  </a:t>
            </a:r>
            <a:r>
              <a:rPr lang="de-DE" sz="1199" dirty="0" err="1">
                <a:solidFill>
                  <a:schemeClr val="accent5">
                    <a:lumMod val="75000"/>
                  </a:schemeClr>
                </a:solidFill>
                <a:ea typeface="Arial Unicode MS" panose="020B0604020202020204" pitchFamily="34" charset="-128"/>
                <a:cs typeface="Arial Unicode MS" panose="020B0604020202020204" pitchFamily="34" charset="-128"/>
              </a:rPr>
              <a:t>Siguard</a:t>
            </a:r>
            <a:r>
              <a:rPr lang="de-DE" sz="1199" dirty="0">
                <a:solidFill>
                  <a:schemeClr val="accent5">
                    <a:lumMod val="75000"/>
                  </a:schemeClr>
                </a:solidFill>
                <a:ea typeface="Arial Unicode MS" panose="020B0604020202020204" pitchFamily="34" charset="-128"/>
                <a:cs typeface="Arial Unicode MS" panose="020B0604020202020204" pitchFamily="34" charset="-128"/>
              </a:rPr>
              <a:t> PDP + CP8050 </a:t>
            </a:r>
            <a:endParaRPr lang="en-US" sz="1199" dirty="0">
              <a:solidFill>
                <a:schemeClr val="accent5">
                  <a:lumMod val="75000"/>
                </a:schemeClr>
              </a:solidFill>
              <a:ea typeface="Arial Unicode MS" panose="020B0604020202020204" pitchFamily="34" charset="-128"/>
              <a:cs typeface="Arial Unicode MS" panose="020B0604020202020204" pitchFamily="34" charset="-128"/>
            </a:endParaRPr>
          </a:p>
        </p:txBody>
      </p:sp>
      <p:sp>
        <p:nvSpPr>
          <p:cNvPr id="21" name="TextBox 20">
            <a:extLst>
              <a:ext uri="{FF2B5EF4-FFF2-40B4-BE49-F238E27FC236}">
                <a16:creationId xmlns:a16="http://schemas.microsoft.com/office/drawing/2014/main" id="{902E70E7-E86F-418A-B4EF-28EAFC569764}"/>
              </a:ext>
            </a:extLst>
          </p:cNvPr>
          <p:cNvSpPr txBox="1"/>
          <p:nvPr/>
        </p:nvSpPr>
        <p:spPr>
          <a:xfrm>
            <a:off x="708148" y="2733610"/>
            <a:ext cx="3464058" cy="247918"/>
          </a:xfrm>
          <a:prstGeom prst="rect">
            <a:avLst/>
          </a:prstGeom>
          <a:noFill/>
        </p:spPr>
        <p:txBody>
          <a:bodyPr wrap="none" lIns="0" tIns="0" rIns="0" bIns="0" rtlCol="0">
            <a:noAutofit/>
          </a:bodyPr>
          <a:lstStyle/>
          <a:p>
            <a:pPr>
              <a:lnSpc>
                <a:spcPct val="110000"/>
              </a:lnSpc>
            </a:pPr>
            <a:r>
              <a:rPr lang="de-DE" sz="1199" dirty="0">
                <a:ea typeface="Arial Unicode MS" panose="020B0604020202020204" pitchFamily="34" charset="-128"/>
                <a:cs typeface="Arial Unicode MS" panose="020B0604020202020204" pitchFamily="34" charset="-128"/>
              </a:rPr>
              <a:t>3. </a:t>
            </a:r>
            <a:r>
              <a:rPr lang="de-DE" sz="1199" dirty="0">
                <a:solidFill>
                  <a:schemeClr val="accent5">
                    <a:lumMod val="75000"/>
                  </a:schemeClr>
                </a:solidFill>
                <a:ea typeface="Arial Unicode MS" panose="020B0604020202020204" pitchFamily="34" charset="-128"/>
                <a:cs typeface="Arial Unicode MS" panose="020B0604020202020204" pitchFamily="34" charset="-128"/>
              </a:rPr>
              <a:t>Wide Area Network WAN </a:t>
            </a:r>
            <a:endParaRPr lang="en-US" sz="1199" dirty="0">
              <a:solidFill>
                <a:schemeClr val="accent5">
                  <a:lumMod val="75000"/>
                </a:schemeClr>
              </a:solidFill>
              <a:ea typeface="Arial Unicode MS" panose="020B0604020202020204" pitchFamily="34" charset="-128"/>
              <a:cs typeface="Arial Unicode MS" panose="020B0604020202020204" pitchFamily="34" charset="-128"/>
            </a:endParaRPr>
          </a:p>
        </p:txBody>
      </p:sp>
      <p:sp>
        <p:nvSpPr>
          <p:cNvPr id="24" name="TextBox 23">
            <a:extLst>
              <a:ext uri="{FF2B5EF4-FFF2-40B4-BE49-F238E27FC236}">
                <a16:creationId xmlns:a16="http://schemas.microsoft.com/office/drawing/2014/main" id="{4C380C09-371C-4A8B-8245-D065B85EB7A7}"/>
              </a:ext>
            </a:extLst>
          </p:cNvPr>
          <p:cNvSpPr txBox="1"/>
          <p:nvPr/>
        </p:nvSpPr>
        <p:spPr>
          <a:xfrm>
            <a:off x="702489" y="3023117"/>
            <a:ext cx="3464058" cy="247918"/>
          </a:xfrm>
          <a:prstGeom prst="rect">
            <a:avLst/>
          </a:prstGeom>
          <a:noFill/>
        </p:spPr>
        <p:txBody>
          <a:bodyPr wrap="none" lIns="0" tIns="0" rIns="0" bIns="0" rtlCol="0">
            <a:noAutofit/>
          </a:bodyPr>
          <a:lstStyle/>
          <a:p>
            <a:pPr>
              <a:lnSpc>
                <a:spcPct val="110000"/>
              </a:lnSpc>
            </a:pPr>
            <a:r>
              <a:rPr lang="de-DE" sz="1199" dirty="0">
                <a:ea typeface="Arial Unicode MS" panose="020B0604020202020204" pitchFamily="34" charset="-128"/>
                <a:cs typeface="Arial Unicode MS" panose="020B0604020202020204" pitchFamily="34" charset="-128"/>
              </a:rPr>
              <a:t>4. </a:t>
            </a:r>
            <a:r>
              <a:rPr lang="de-DE" sz="1199" dirty="0">
                <a:solidFill>
                  <a:schemeClr val="accent5">
                    <a:lumMod val="75000"/>
                  </a:schemeClr>
                </a:solidFill>
                <a:ea typeface="Arial Unicode MS" panose="020B0604020202020204" pitchFamily="34" charset="-128"/>
                <a:cs typeface="Arial Unicode MS" panose="020B0604020202020204" pitchFamily="34" charset="-128"/>
              </a:rPr>
              <a:t>C37.118 - IEC 61850 Goose  Standard </a:t>
            </a:r>
            <a:r>
              <a:rPr lang="de-DE" sz="1199" dirty="0" err="1">
                <a:solidFill>
                  <a:schemeClr val="accent5">
                    <a:lumMod val="75000"/>
                  </a:schemeClr>
                </a:solidFill>
                <a:ea typeface="Arial Unicode MS" panose="020B0604020202020204" pitchFamily="34" charset="-128"/>
                <a:cs typeface="Arial Unicode MS" panose="020B0604020202020204" pitchFamily="34" charset="-128"/>
              </a:rPr>
              <a:t>Protocols</a:t>
            </a:r>
            <a:endParaRPr lang="en-US" sz="1199" dirty="0">
              <a:solidFill>
                <a:schemeClr val="accent5">
                  <a:lumMod val="75000"/>
                </a:schemeClr>
              </a:solidFill>
              <a:ea typeface="Arial Unicode MS" panose="020B0604020202020204" pitchFamily="34" charset="-128"/>
              <a:cs typeface="Arial Unicode MS" panose="020B0604020202020204" pitchFamily="34" charset="-128"/>
            </a:endParaRPr>
          </a:p>
        </p:txBody>
      </p:sp>
      <p:sp>
        <p:nvSpPr>
          <p:cNvPr id="25" name="TextBox 24">
            <a:extLst>
              <a:ext uri="{FF2B5EF4-FFF2-40B4-BE49-F238E27FC236}">
                <a16:creationId xmlns:a16="http://schemas.microsoft.com/office/drawing/2014/main" id="{ED528212-DFF7-4340-A50E-C69E735E0771}"/>
              </a:ext>
            </a:extLst>
          </p:cNvPr>
          <p:cNvSpPr txBox="1"/>
          <p:nvPr/>
        </p:nvSpPr>
        <p:spPr>
          <a:xfrm>
            <a:off x="698211" y="3279185"/>
            <a:ext cx="3464058" cy="247918"/>
          </a:xfrm>
          <a:prstGeom prst="rect">
            <a:avLst/>
          </a:prstGeom>
          <a:noFill/>
        </p:spPr>
        <p:txBody>
          <a:bodyPr wrap="none" lIns="0" tIns="0" rIns="0" bIns="0" rtlCol="0">
            <a:noAutofit/>
          </a:bodyPr>
          <a:lstStyle/>
          <a:p>
            <a:pPr>
              <a:lnSpc>
                <a:spcPct val="110000"/>
              </a:lnSpc>
            </a:pPr>
            <a:r>
              <a:rPr lang="de-DE" sz="1199" dirty="0">
                <a:ea typeface="Arial Unicode MS" panose="020B0604020202020204" pitchFamily="34" charset="-128"/>
                <a:cs typeface="Arial Unicode MS" panose="020B0604020202020204" pitchFamily="34" charset="-128"/>
              </a:rPr>
              <a:t>5. </a:t>
            </a:r>
            <a:r>
              <a:rPr lang="de-DE" sz="1199" dirty="0">
                <a:solidFill>
                  <a:schemeClr val="accent5">
                    <a:lumMod val="75000"/>
                  </a:schemeClr>
                </a:solidFill>
                <a:ea typeface="Arial Unicode MS" panose="020B0604020202020204" pitchFamily="34" charset="-128"/>
                <a:cs typeface="Arial Unicode MS" panose="020B0604020202020204" pitchFamily="34" charset="-128"/>
              </a:rPr>
              <a:t>Wide Area Network</a:t>
            </a:r>
            <a:endParaRPr lang="en-US" sz="1199" dirty="0">
              <a:solidFill>
                <a:schemeClr val="accent5">
                  <a:lumMod val="75000"/>
                </a:schemeClr>
              </a:solidFill>
              <a:ea typeface="Arial Unicode MS" panose="020B0604020202020204" pitchFamily="34" charset="-128"/>
              <a:cs typeface="Arial Unicode MS" panose="020B0604020202020204" pitchFamily="34" charset="-128"/>
            </a:endParaRPr>
          </a:p>
        </p:txBody>
      </p:sp>
      <p:pic>
        <p:nvPicPr>
          <p:cNvPr id="6" name="Picture 5">
            <a:extLst>
              <a:ext uri="{FF2B5EF4-FFF2-40B4-BE49-F238E27FC236}">
                <a16:creationId xmlns:a16="http://schemas.microsoft.com/office/drawing/2014/main" id="{10775150-BBD5-4EB1-94B2-30BB092D6790}"/>
              </a:ext>
            </a:extLst>
          </p:cNvPr>
          <p:cNvPicPr>
            <a:picLocks noChangeAspect="1"/>
          </p:cNvPicPr>
          <p:nvPr/>
        </p:nvPicPr>
        <p:blipFill>
          <a:blip r:embed="rId6"/>
          <a:stretch>
            <a:fillRect/>
          </a:stretch>
        </p:blipFill>
        <p:spPr>
          <a:xfrm>
            <a:off x="4374136" y="1141532"/>
            <a:ext cx="6366205" cy="5114239"/>
          </a:xfrm>
          <a:prstGeom prst="rect">
            <a:avLst/>
          </a:prstGeom>
        </p:spPr>
      </p:pic>
      <p:sp>
        <p:nvSpPr>
          <p:cNvPr id="7" name="Fußzeilenplatzhalter 6">
            <a:extLst>
              <a:ext uri="{FF2B5EF4-FFF2-40B4-BE49-F238E27FC236}">
                <a16:creationId xmlns:a16="http://schemas.microsoft.com/office/drawing/2014/main" id="{1B5828A9-F6A7-4D53-B679-AA181BCC3BBB}"/>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8" name="Foliennummernplatzhalter 7">
            <a:extLst>
              <a:ext uri="{FF2B5EF4-FFF2-40B4-BE49-F238E27FC236}">
                <a16:creationId xmlns:a16="http://schemas.microsoft.com/office/drawing/2014/main" id="{10960DC0-A229-4095-A679-54A4FAC72A06}"/>
              </a:ext>
            </a:extLst>
          </p:cNvPr>
          <p:cNvSpPr>
            <a:spLocks noGrp="1"/>
          </p:cNvSpPr>
          <p:nvPr>
            <p:ph type="sldNum" sz="quarter" idx="11"/>
          </p:nvPr>
        </p:nvSpPr>
        <p:spPr/>
        <p:txBody>
          <a:bodyPr/>
          <a:lstStyle/>
          <a:p>
            <a:r>
              <a:rPr lang="en-US"/>
              <a:t>Page </a:t>
            </a:r>
            <a:fld id="{15EBE321-CBB1-4E91-BD14-37C8D44326FB}" type="slidenum">
              <a:rPr lang="en-US" smtClean="0"/>
              <a:pPr/>
              <a:t>23</a:t>
            </a:fld>
            <a:endParaRPr lang="en-US" dirty="0"/>
          </a:p>
        </p:txBody>
      </p:sp>
    </p:spTree>
    <p:extLst>
      <p:ext uri="{BB962C8B-B14F-4D97-AF65-F5344CB8AC3E}">
        <p14:creationId xmlns:p14="http://schemas.microsoft.com/office/powerpoint/2010/main" val="19164565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0"/>
                                        </p:tgtEl>
                                        <p:attrNameLst>
                                          <p:attrName>style.visibility</p:attrName>
                                        </p:attrNameLst>
                                      </p:cBhvr>
                                      <p:to>
                                        <p:strVal val="visible"/>
                                      </p:to>
                                    </p:set>
                                    <p:anim calcmode="lin" valueType="num">
                                      <p:cBhvr additive="base">
                                        <p:cTn id="13" dur="500" fill="hold"/>
                                        <p:tgtEl>
                                          <p:spTgt spid="20"/>
                                        </p:tgtEl>
                                        <p:attrNameLst>
                                          <p:attrName>ppt_x</p:attrName>
                                        </p:attrNameLst>
                                      </p:cBhvr>
                                      <p:tavLst>
                                        <p:tav tm="0">
                                          <p:val>
                                            <p:strVal val="#ppt_x"/>
                                          </p:val>
                                        </p:tav>
                                        <p:tav tm="100000">
                                          <p:val>
                                            <p:strVal val="#ppt_x"/>
                                          </p:val>
                                        </p:tav>
                                      </p:tavLst>
                                    </p:anim>
                                    <p:anim calcmode="lin" valueType="num">
                                      <p:cBhvr additive="base">
                                        <p:cTn id="14"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500" fill="hold"/>
                                        <p:tgtEl>
                                          <p:spTgt spid="21"/>
                                        </p:tgtEl>
                                        <p:attrNameLst>
                                          <p:attrName>ppt_x</p:attrName>
                                        </p:attrNameLst>
                                      </p:cBhvr>
                                      <p:tavLst>
                                        <p:tav tm="0">
                                          <p:val>
                                            <p:strVal val="#ppt_x"/>
                                          </p:val>
                                        </p:tav>
                                        <p:tav tm="100000">
                                          <p:val>
                                            <p:strVal val="#ppt_x"/>
                                          </p:val>
                                        </p:tav>
                                      </p:tavLst>
                                    </p:anim>
                                    <p:anim calcmode="lin" valueType="num">
                                      <p:cBhvr additive="base">
                                        <p:cTn id="20" dur="500" fill="hold"/>
                                        <p:tgtEl>
                                          <p:spTgt spid="21"/>
                                        </p:tgtEl>
                                        <p:attrNameLst>
                                          <p:attrName>ppt_y</p:attrName>
                                        </p:attrNameLst>
                                      </p:cBhvr>
                                      <p:tavLst>
                                        <p:tav tm="0">
                                          <p:val>
                                            <p:strVal val="1+#ppt_h/2"/>
                                          </p:val>
                                        </p:tav>
                                        <p:tav tm="100000">
                                          <p:val>
                                            <p:strVal val="#ppt_y"/>
                                          </p:val>
                                        </p:tav>
                                      </p:tavLst>
                                    </p:anim>
                                  </p:childTnLst>
                                </p:cTn>
                              </p:par>
                              <p:par>
                                <p:cTn id="21" presetID="16" presetClass="entr" presetSubtype="21"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animEffect transition="in" filter="barn(inVertical)">
                                      <p:cBhvr>
                                        <p:cTn id="23" dur="500"/>
                                        <p:tgtEl>
                                          <p:spTgt spid="24"/>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grpId="0" nodeType="clickEffect">
                                  <p:stCondLst>
                                    <p:cond delay="0"/>
                                  </p:stCondLst>
                                  <p:childTnLst>
                                    <p:set>
                                      <p:cBhvr>
                                        <p:cTn id="27" dur="1" fill="hold">
                                          <p:stCondLst>
                                            <p:cond delay="0"/>
                                          </p:stCondLst>
                                        </p:cTn>
                                        <p:tgtEl>
                                          <p:spTgt spid="25"/>
                                        </p:tgtEl>
                                        <p:attrNameLst>
                                          <p:attrName>style.visibility</p:attrName>
                                        </p:attrNameLst>
                                      </p:cBhvr>
                                      <p:to>
                                        <p:strVal val="visible"/>
                                      </p:to>
                                    </p:set>
                                    <p:animEffect transition="in" filter="wipe(down)">
                                      <p:cBhvr>
                                        <p:cTn id="28"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20" grpId="0"/>
      <p:bldP spid="21" grpId="0"/>
      <p:bldP spid="24" grpId="0"/>
      <p:bldP spid="25"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3426" name="Rectangle 2"/>
          <p:cNvSpPr>
            <a:spLocks noGrp="1" noChangeArrowheads="1"/>
          </p:cNvSpPr>
          <p:nvPr>
            <p:ph type="title"/>
          </p:nvPr>
        </p:nvSpPr>
        <p:spPr/>
        <p:txBody>
          <a:bodyPr/>
          <a:lstStyle/>
          <a:p>
            <a:r>
              <a:rPr lang="en-US" dirty="0"/>
              <a:t>SIGUARD PDP</a:t>
            </a:r>
            <a:br>
              <a:rPr lang="en-US" dirty="0"/>
            </a:br>
            <a:r>
              <a:rPr lang="en-US" dirty="0"/>
              <a:t>Components</a:t>
            </a:r>
          </a:p>
        </p:txBody>
      </p:sp>
      <p:pic>
        <p:nvPicPr>
          <p:cNvPr id="4" name="Picture 2">
            <a:extLst>
              <a:ext uri="{FF2B5EF4-FFF2-40B4-BE49-F238E27FC236}">
                <a16:creationId xmlns:a16="http://schemas.microsoft.com/office/drawing/2014/main" id="{202BDD62-CBFA-443F-A1CF-4B7629236FFB}"/>
              </a:ext>
            </a:extLst>
          </p:cNvPr>
          <p:cNvPicPr>
            <a:picLocks noChangeAspect="1" noChangeArrowheads="1"/>
          </p:cNvPicPr>
          <p:nvPr/>
        </p:nvPicPr>
        <p:blipFill>
          <a:blip r:embed="rId2"/>
          <a:srcRect/>
          <a:stretch>
            <a:fillRect/>
          </a:stretch>
        </p:blipFill>
        <p:spPr bwMode="auto">
          <a:xfrm>
            <a:off x="9615808" y="1778739"/>
            <a:ext cx="2094539" cy="1774819"/>
          </a:xfrm>
          <a:prstGeom prst="rect">
            <a:avLst/>
          </a:prstGeom>
          <a:noFill/>
          <a:ln w="9525">
            <a:noFill/>
            <a:miter lim="800000"/>
            <a:headEnd/>
            <a:tailEnd/>
          </a:ln>
        </p:spPr>
      </p:pic>
      <p:sp>
        <p:nvSpPr>
          <p:cNvPr id="6" name="Ellipse 5">
            <a:extLst>
              <a:ext uri="{FF2B5EF4-FFF2-40B4-BE49-F238E27FC236}">
                <a16:creationId xmlns:a16="http://schemas.microsoft.com/office/drawing/2014/main" id="{90724FD8-B4C7-482A-9783-5B6F3F0BBA9D}"/>
              </a:ext>
            </a:extLst>
          </p:cNvPr>
          <p:cNvSpPr/>
          <p:nvPr/>
        </p:nvSpPr>
        <p:spPr bwMode="auto">
          <a:xfrm>
            <a:off x="9416735" y="2322295"/>
            <a:ext cx="1202014" cy="728920"/>
          </a:xfrm>
          <a:prstGeom prst="ellipse">
            <a:avLst/>
          </a:prstGeom>
          <a:noFill/>
          <a:ln w="28575">
            <a:solidFill>
              <a:srgbClr val="0F8287"/>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de-DE" sz="1799">
              <a:ea typeface="Arial Unicode MS" panose="020B0604020202020204" pitchFamily="34" charset="-128"/>
              <a:cs typeface="Arial Unicode MS" panose="020B0604020202020204" pitchFamily="34" charset="-128"/>
            </a:endParaRPr>
          </a:p>
        </p:txBody>
      </p:sp>
      <p:pic>
        <p:nvPicPr>
          <p:cNvPr id="2" name="Picture 1">
            <a:extLst>
              <a:ext uri="{FF2B5EF4-FFF2-40B4-BE49-F238E27FC236}">
                <a16:creationId xmlns:a16="http://schemas.microsoft.com/office/drawing/2014/main" id="{8C82FE51-716C-4A31-95AA-5E12AA5488A7}"/>
              </a:ext>
            </a:extLst>
          </p:cNvPr>
          <p:cNvPicPr>
            <a:picLocks noChangeAspect="1"/>
          </p:cNvPicPr>
          <p:nvPr/>
        </p:nvPicPr>
        <p:blipFill>
          <a:blip r:embed="rId3"/>
          <a:stretch>
            <a:fillRect/>
          </a:stretch>
        </p:blipFill>
        <p:spPr>
          <a:xfrm>
            <a:off x="3341913" y="834862"/>
            <a:ext cx="5061562" cy="5437390"/>
          </a:xfrm>
          <a:prstGeom prst="rect">
            <a:avLst/>
          </a:prstGeom>
        </p:spPr>
      </p:pic>
      <p:sp>
        <p:nvSpPr>
          <p:cNvPr id="3" name="Fußzeilenplatzhalter 2">
            <a:extLst>
              <a:ext uri="{FF2B5EF4-FFF2-40B4-BE49-F238E27FC236}">
                <a16:creationId xmlns:a16="http://schemas.microsoft.com/office/drawing/2014/main" id="{96553B0D-BD3B-4056-80D0-EA9447F01853}"/>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3AADD506-1E41-4804-BF59-CDA75BD7C05D}"/>
              </a:ext>
            </a:extLst>
          </p:cNvPr>
          <p:cNvSpPr>
            <a:spLocks noGrp="1"/>
          </p:cNvSpPr>
          <p:nvPr>
            <p:ph type="sldNum" sz="quarter" idx="11"/>
          </p:nvPr>
        </p:nvSpPr>
        <p:spPr/>
        <p:txBody>
          <a:bodyPr/>
          <a:lstStyle/>
          <a:p>
            <a:r>
              <a:rPr lang="en-US"/>
              <a:t>Page </a:t>
            </a:r>
            <a:fld id="{15EBE321-CBB1-4E91-BD14-37C8D44326FB}" type="slidenum">
              <a:rPr lang="en-US" smtClean="0"/>
              <a:pPr/>
              <a:t>24</a:t>
            </a:fld>
            <a:endParaRPr lang="en-US" dirty="0"/>
          </a:p>
        </p:txBody>
      </p:sp>
    </p:spTree>
    <p:extLst>
      <p:ext uri="{BB962C8B-B14F-4D97-AF65-F5344CB8AC3E}">
        <p14:creationId xmlns:p14="http://schemas.microsoft.com/office/powerpoint/2010/main" val="1912471510"/>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3426" name="Rectangle 2"/>
          <p:cNvSpPr>
            <a:spLocks noGrp="1" noChangeArrowheads="1"/>
          </p:cNvSpPr>
          <p:nvPr>
            <p:ph type="title"/>
          </p:nvPr>
        </p:nvSpPr>
        <p:spPr/>
        <p:txBody>
          <a:bodyPr/>
          <a:lstStyle/>
          <a:p>
            <a:r>
              <a:rPr lang="en-US" dirty="0"/>
              <a:t>SIGUARD PDP</a:t>
            </a:r>
            <a:br>
              <a:rPr lang="en-US" dirty="0"/>
            </a:br>
            <a:r>
              <a:rPr lang="en-US" dirty="0"/>
              <a:t>Components</a:t>
            </a:r>
          </a:p>
        </p:txBody>
      </p:sp>
      <p:sp>
        <p:nvSpPr>
          <p:cNvPr id="1383427" name="Rectangle 3"/>
          <p:cNvSpPr>
            <a:spLocks noGrp="1" noChangeArrowheads="1"/>
          </p:cNvSpPr>
          <p:nvPr>
            <p:ph type="body" idx="4294967295"/>
          </p:nvPr>
        </p:nvSpPr>
        <p:spPr>
          <a:xfrm>
            <a:off x="410400" y="1273175"/>
            <a:ext cx="8343900" cy="4748213"/>
          </a:xfrm>
        </p:spPr>
        <p:txBody>
          <a:bodyPr vert="horz" lIns="0" tIns="71963" rIns="0" bIns="0" rtlCol="0">
            <a:noAutofit/>
          </a:bodyPr>
          <a:lstStyle/>
          <a:p>
            <a:pPr lvl="1">
              <a:spcAft>
                <a:spcPts val="600"/>
              </a:spcAft>
              <a:buClrTx/>
            </a:pPr>
            <a:r>
              <a:rPr lang="en-US" b="1" dirty="0"/>
              <a:t>SIGUARD PDP UI (User Interface)</a:t>
            </a:r>
            <a:br>
              <a:rPr lang="en-US" b="1" dirty="0"/>
            </a:br>
            <a:r>
              <a:rPr lang="en-US" dirty="0"/>
              <a:t>This component is the SIGUARD PDP user interface. Designed to display and analyze the information both in online mode (real time) and offline mode (data from archive). Can be installed on separate user workstations, TCP/IP communication to server.</a:t>
            </a:r>
          </a:p>
          <a:p>
            <a:pPr lvl="1">
              <a:spcAft>
                <a:spcPts val="600"/>
              </a:spcAft>
              <a:buClrTx/>
            </a:pPr>
            <a:r>
              <a:rPr lang="en-US" b="1" dirty="0"/>
              <a:t>SIGUARD PDP Engineer</a:t>
            </a:r>
            <a:br>
              <a:rPr lang="en-US" b="1" dirty="0"/>
            </a:br>
            <a:r>
              <a:rPr lang="en-US" dirty="0"/>
              <a:t>This component is the SIGUARD PDP configuration tool. Installed with user interface on separate user workstations.</a:t>
            </a:r>
          </a:p>
        </p:txBody>
      </p:sp>
      <p:pic>
        <p:nvPicPr>
          <p:cNvPr id="4" name="Picture 2">
            <a:extLst>
              <a:ext uri="{FF2B5EF4-FFF2-40B4-BE49-F238E27FC236}">
                <a16:creationId xmlns:a16="http://schemas.microsoft.com/office/drawing/2014/main" id="{202BDD62-CBFA-443F-A1CF-4B7629236FFB}"/>
              </a:ext>
            </a:extLst>
          </p:cNvPr>
          <p:cNvPicPr>
            <a:picLocks noChangeAspect="1" noChangeArrowheads="1"/>
          </p:cNvPicPr>
          <p:nvPr/>
        </p:nvPicPr>
        <p:blipFill>
          <a:blip r:embed="rId2"/>
          <a:srcRect/>
          <a:stretch>
            <a:fillRect/>
          </a:stretch>
        </p:blipFill>
        <p:spPr bwMode="auto">
          <a:xfrm>
            <a:off x="9599678" y="1763526"/>
            <a:ext cx="2094539" cy="1774819"/>
          </a:xfrm>
          <a:prstGeom prst="rect">
            <a:avLst/>
          </a:prstGeom>
          <a:noFill/>
          <a:ln w="9525">
            <a:noFill/>
            <a:miter lim="800000"/>
            <a:headEnd/>
            <a:tailEnd/>
          </a:ln>
        </p:spPr>
      </p:pic>
      <p:sp>
        <p:nvSpPr>
          <p:cNvPr id="6" name="Ellipse 5">
            <a:extLst>
              <a:ext uri="{FF2B5EF4-FFF2-40B4-BE49-F238E27FC236}">
                <a16:creationId xmlns:a16="http://schemas.microsoft.com/office/drawing/2014/main" id="{90724FD8-B4C7-482A-9783-5B6F3F0BBA9D}"/>
              </a:ext>
            </a:extLst>
          </p:cNvPr>
          <p:cNvSpPr/>
          <p:nvPr/>
        </p:nvSpPr>
        <p:spPr bwMode="auto">
          <a:xfrm>
            <a:off x="10285415" y="1688881"/>
            <a:ext cx="1202014" cy="728920"/>
          </a:xfrm>
          <a:prstGeom prst="ellipse">
            <a:avLst/>
          </a:prstGeom>
          <a:noFill/>
          <a:ln w="28575">
            <a:solidFill>
              <a:srgbClr val="0F8287"/>
            </a:solidFill>
          </a:ln>
          <a:effectLst/>
        </p:spPr>
        <p:txBody>
          <a:bodyPr wrap="square" lIns="107944" tIns="53972" rIns="107944" bIns="53972" numCol="1" spcCol="72000" rtlCol="0" anchor="ctr">
            <a:noAutofit/>
          </a:bodyPr>
          <a:lstStyle/>
          <a:p>
            <a:pPr algn="ctr">
              <a:lnSpc>
                <a:spcPct val="110000"/>
              </a:lnSpc>
              <a:spcBef>
                <a:spcPct val="0"/>
              </a:spcBef>
              <a:buFont typeface="Wingdings" charset="0"/>
              <a:buNone/>
            </a:pPr>
            <a:endParaRPr lang="de-DE" sz="1799">
              <a:ea typeface="Arial Unicode MS" panose="020B0604020202020204" pitchFamily="34" charset="-128"/>
              <a:cs typeface="Arial Unicode MS" panose="020B0604020202020204" pitchFamily="34" charset="-128"/>
            </a:endParaRPr>
          </a:p>
        </p:txBody>
      </p:sp>
      <p:sp>
        <p:nvSpPr>
          <p:cNvPr id="2" name="Fußzeilenplatzhalter 1">
            <a:extLst>
              <a:ext uri="{FF2B5EF4-FFF2-40B4-BE49-F238E27FC236}">
                <a16:creationId xmlns:a16="http://schemas.microsoft.com/office/drawing/2014/main" id="{6BE9031B-A5C1-4CE7-AE1C-9A50B61DAFFE}"/>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3" name="Foliennummernplatzhalter 2">
            <a:extLst>
              <a:ext uri="{FF2B5EF4-FFF2-40B4-BE49-F238E27FC236}">
                <a16:creationId xmlns:a16="http://schemas.microsoft.com/office/drawing/2014/main" id="{4CEDF796-E461-4654-B10C-BC10599D4320}"/>
              </a:ext>
            </a:extLst>
          </p:cNvPr>
          <p:cNvSpPr>
            <a:spLocks noGrp="1"/>
          </p:cNvSpPr>
          <p:nvPr>
            <p:ph type="sldNum" sz="quarter" idx="11"/>
          </p:nvPr>
        </p:nvSpPr>
        <p:spPr/>
        <p:txBody>
          <a:bodyPr/>
          <a:lstStyle/>
          <a:p>
            <a:r>
              <a:rPr lang="en-US"/>
              <a:t>Page </a:t>
            </a:r>
            <a:fld id="{15EBE321-CBB1-4E91-BD14-37C8D44326FB}" type="slidenum">
              <a:rPr lang="en-US" smtClean="0"/>
              <a:pPr/>
              <a:t>25</a:t>
            </a:fld>
            <a:endParaRPr lang="en-US" dirty="0"/>
          </a:p>
        </p:txBody>
      </p:sp>
    </p:spTree>
    <p:extLst>
      <p:ext uri="{BB962C8B-B14F-4D97-AF65-F5344CB8AC3E}">
        <p14:creationId xmlns:p14="http://schemas.microsoft.com/office/powerpoint/2010/main" val="1749001167"/>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3426" name="Rectangle 2"/>
          <p:cNvSpPr>
            <a:spLocks noGrp="1" noChangeArrowheads="1"/>
          </p:cNvSpPr>
          <p:nvPr>
            <p:ph type="title"/>
          </p:nvPr>
        </p:nvSpPr>
        <p:spPr/>
        <p:txBody>
          <a:bodyPr/>
          <a:lstStyle/>
          <a:p>
            <a:r>
              <a:rPr lang="en-US" dirty="0"/>
              <a:t>SIGUARD PDP</a:t>
            </a:r>
            <a:br>
              <a:rPr lang="en-US" dirty="0"/>
            </a:br>
            <a:r>
              <a:rPr lang="en-US" dirty="0"/>
              <a:t>Components</a:t>
            </a:r>
          </a:p>
        </p:txBody>
      </p:sp>
      <p:pic>
        <p:nvPicPr>
          <p:cNvPr id="7" name="Picture 6">
            <a:extLst>
              <a:ext uri="{FF2B5EF4-FFF2-40B4-BE49-F238E27FC236}">
                <a16:creationId xmlns:a16="http://schemas.microsoft.com/office/drawing/2014/main" id="{D2231D20-2C37-4716-8C1E-0332CC68A1A5}"/>
              </a:ext>
            </a:extLst>
          </p:cNvPr>
          <p:cNvPicPr>
            <a:picLocks noChangeAspect="1"/>
          </p:cNvPicPr>
          <p:nvPr/>
        </p:nvPicPr>
        <p:blipFill>
          <a:blip r:embed="rId2"/>
          <a:stretch>
            <a:fillRect/>
          </a:stretch>
        </p:blipFill>
        <p:spPr>
          <a:xfrm>
            <a:off x="1258429" y="1257405"/>
            <a:ext cx="9443685" cy="5134549"/>
          </a:xfrm>
          <a:prstGeom prst="rect">
            <a:avLst/>
          </a:prstGeom>
        </p:spPr>
      </p:pic>
      <p:sp>
        <p:nvSpPr>
          <p:cNvPr id="2" name="Fußzeilenplatzhalter 1">
            <a:extLst>
              <a:ext uri="{FF2B5EF4-FFF2-40B4-BE49-F238E27FC236}">
                <a16:creationId xmlns:a16="http://schemas.microsoft.com/office/drawing/2014/main" id="{57F5740E-E99D-49B4-A739-75E850E3E9AD}"/>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3" name="Foliennummernplatzhalter 2">
            <a:extLst>
              <a:ext uri="{FF2B5EF4-FFF2-40B4-BE49-F238E27FC236}">
                <a16:creationId xmlns:a16="http://schemas.microsoft.com/office/drawing/2014/main" id="{EB4914F5-138F-4790-8E10-E76C4FE08816}"/>
              </a:ext>
            </a:extLst>
          </p:cNvPr>
          <p:cNvSpPr>
            <a:spLocks noGrp="1"/>
          </p:cNvSpPr>
          <p:nvPr>
            <p:ph type="sldNum" sz="quarter" idx="11"/>
          </p:nvPr>
        </p:nvSpPr>
        <p:spPr/>
        <p:txBody>
          <a:bodyPr/>
          <a:lstStyle/>
          <a:p>
            <a:r>
              <a:rPr lang="en-US"/>
              <a:t>Page </a:t>
            </a:r>
            <a:fld id="{15EBE321-CBB1-4E91-BD14-37C8D44326FB}" type="slidenum">
              <a:rPr lang="en-US" smtClean="0"/>
              <a:pPr/>
              <a:t>26</a:t>
            </a:fld>
            <a:endParaRPr lang="en-US" dirty="0"/>
          </a:p>
        </p:txBody>
      </p:sp>
    </p:spTree>
    <p:extLst>
      <p:ext uri="{BB962C8B-B14F-4D97-AF65-F5344CB8AC3E}">
        <p14:creationId xmlns:p14="http://schemas.microsoft.com/office/powerpoint/2010/main" val="885464493"/>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SIGUARD PDP</a:t>
            </a:r>
            <a:br>
              <a:rPr lang="de-DE" dirty="0"/>
            </a:br>
            <a:r>
              <a:rPr lang="en-US" dirty="0"/>
              <a:t>Calculations for WAP</a:t>
            </a:r>
          </a:p>
        </p:txBody>
      </p:sp>
      <p:sp>
        <p:nvSpPr>
          <p:cNvPr id="3" name="Content Placeholder 2"/>
          <p:cNvSpPr>
            <a:spLocks noGrp="1"/>
          </p:cNvSpPr>
          <p:nvPr>
            <p:ph idx="4294967295"/>
          </p:nvPr>
        </p:nvSpPr>
        <p:spPr>
          <a:xfrm>
            <a:off x="410400" y="1306156"/>
            <a:ext cx="7843838" cy="4749800"/>
          </a:xfrm>
        </p:spPr>
        <p:txBody>
          <a:bodyPr/>
          <a:lstStyle/>
          <a:p>
            <a:r>
              <a:rPr lang="en-US" b="1" i="1" kern="1200" dirty="0"/>
              <a:t>Angle difference between two phasors with limit</a:t>
            </a:r>
            <a:r>
              <a:rPr lang="en-US" kern="1200" dirty="0"/>
              <a:t>,</a:t>
            </a:r>
            <a:r>
              <a:rPr lang="en-US" i="1" kern="1200" dirty="0"/>
              <a:t> </a:t>
            </a:r>
            <a:r>
              <a:rPr lang="en-US" kern="1200" dirty="0"/>
              <a:t>using absolute value and pickup timer.</a:t>
            </a:r>
            <a:endParaRPr lang="en-US" i="1" kern="1200" dirty="0"/>
          </a:p>
          <a:p>
            <a:pPr lvl="1">
              <a:buFont typeface="Arial" pitchFamily="34" charset="0"/>
              <a:buChar char="•"/>
            </a:pPr>
            <a:r>
              <a:rPr lang="en-US" dirty="0"/>
              <a:t>Inputs: </a:t>
            </a:r>
          </a:p>
          <a:p>
            <a:pPr lvl="2">
              <a:buFont typeface="Arial" pitchFamily="34" charset="0"/>
              <a:buChar char="•"/>
            </a:pPr>
            <a:r>
              <a:rPr lang="en-US" dirty="0"/>
              <a:t>Two voltage phasors, positive sequence preferred</a:t>
            </a:r>
          </a:p>
          <a:p>
            <a:pPr lvl="2">
              <a:buFont typeface="Arial" pitchFamily="34" charset="0"/>
              <a:buChar char="•"/>
            </a:pPr>
            <a:r>
              <a:rPr lang="en-US" dirty="0"/>
              <a:t>Threshold value in degree</a:t>
            </a:r>
          </a:p>
          <a:p>
            <a:pPr lvl="2">
              <a:buFont typeface="Arial" pitchFamily="34" charset="0"/>
              <a:buChar char="•"/>
            </a:pPr>
            <a:r>
              <a:rPr lang="en-US" dirty="0"/>
              <a:t>Pickup time in seconds</a:t>
            </a:r>
          </a:p>
          <a:p>
            <a:pPr lvl="1">
              <a:buFont typeface="Arial" pitchFamily="34" charset="0"/>
              <a:buChar char="•"/>
            </a:pPr>
            <a:r>
              <a:rPr lang="en-US" dirty="0"/>
              <a:t>Output: digital signal, set to 1 if limit is violated for longer than pickup time</a:t>
            </a:r>
          </a:p>
          <a:p>
            <a:pPr lvl="1">
              <a:buFont typeface="Arial" pitchFamily="34" charset="0"/>
              <a:buChar char="•"/>
            </a:pPr>
            <a:endParaRPr lang="en-US" dirty="0"/>
          </a:p>
          <a:p>
            <a:pPr lvl="1">
              <a:buNone/>
            </a:pPr>
            <a:r>
              <a:rPr lang="en-US" b="1" i="1" dirty="0"/>
              <a:t>Comparator</a:t>
            </a:r>
          </a:p>
          <a:p>
            <a:pPr lvl="1"/>
            <a:r>
              <a:rPr lang="en-US" dirty="0"/>
              <a:t>Inputs:</a:t>
            </a:r>
          </a:p>
          <a:p>
            <a:pPr lvl="2"/>
            <a:r>
              <a:rPr lang="en-US" dirty="0"/>
              <a:t>Two analog signals </a:t>
            </a:r>
            <a:r>
              <a:rPr lang="en-US" i="1" dirty="0" err="1"/>
              <a:t>pos</a:t>
            </a:r>
            <a:r>
              <a:rPr lang="en-US" i="1" dirty="0"/>
              <a:t> (+)</a:t>
            </a:r>
            <a:r>
              <a:rPr lang="en-US" dirty="0"/>
              <a:t> and </a:t>
            </a:r>
            <a:r>
              <a:rPr lang="en-US" i="1" dirty="0" err="1"/>
              <a:t>neg</a:t>
            </a:r>
            <a:r>
              <a:rPr lang="en-US" i="1" dirty="0"/>
              <a:t> (-)</a:t>
            </a:r>
            <a:r>
              <a:rPr lang="en-US" dirty="0"/>
              <a:t>, either measurement or constant</a:t>
            </a:r>
            <a:endParaRPr lang="en-US" i="1" dirty="0"/>
          </a:p>
          <a:p>
            <a:pPr lvl="1"/>
            <a:r>
              <a:rPr lang="en-US" dirty="0"/>
              <a:t>Output: digital signal, set to 1 if </a:t>
            </a:r>
            <a:r>
              <a:rPr lang="en-US" i="1" dirty="0"/>
              <a:t>pos </a:t>
            </a:r>
            <a:r>
              <a:rPr lang="en-US" dirty="0"/>
              <a:t>&gt;</a:t>
            </a:r>
            <a:r>
              <a:rPr lang="en-US" i="1" dirty="0"/>
              <a:t> neg</a:t>
            </a:r>
            <a:r>
              <a:rPr lang="en-US" dirty="0"/>
              <a:t>.</a:t>
            </a:r>
          </a:p>
          <a:p>
            <a:pPr lvl="1">
              <a:buFont typeface="Arial" pitchFamily="34" charset="0"/>
              <a:buChar char="•"/>
            </a:pPr>
            <a:endParaRPr lang="en-US" dirty="0"/>
          </a:p>
        </p:txBody>
      </p:sp>
      <p:pic>
        <p:nvPicPr>
          <p:cNvPr id="7" name="Picture 6">
            <a:extLst>
              <a:ext uri="{FF2B5EF4-FFF2-40B4-BE49-F238E27FC236}">
                <a16:creationId xmlns:a16="http://schemas.microsoft.com/office/drawing/2014/main" id="{DF04D32A-523C-49A1-9B56-9B0CEA5E608C}"/>
              </a:ext>
            </a:extLst>
          </p:cNvPr>
          <p:cNvPicPr>
            <a:picLocks noChangeAspect="1"/>
          </p:cNvPicPr>
          <p:nvPr/>
        </p:nvPicPr>
        <p:blipFill>
          <a:blip r:embed="rId2"/>
          <a:stretch>
            <a:fillRect/>
          </a:stretch>
        </p:blipFill>
        <p:spPr>
          <a:xfrm>
            <a:off x="8039204" y="1737694"/>
            <a:ext cx="3750044" cy="1439251"/>
          </a:xfrm>
          <a:prstGeom prst="rect">
            <a:avLst/>
          </a:prstGeom>
        </p:spPr>
      </p:pic>
      <p:pic>
        <p:nvPicPr>
          <p:cNvPr id="8" name="Picture 7">
            <a:extLst>
              <a:ext uri="{FF2B5EF4-FFF2-40B4-BE49-F238E27FC236}">
                <a16:creationId xmlns:a16="http://schemas.microsoft.com/office/drawing/2014/main" id="{C7368BEF-E2EB-45AD-9DC4-02D9FA133A22}"/>
              </a:ext>
            </a:extLst>
          </p:cNvPr>
          <p:cNvPicPr>
            <a:picLocks noChangeAspect="1"/>
          </p:cNvPicPr>
          <p:nvPr/>
        </p:nvPicPr>
        <p:blipFill>
          <a:blip r:embed="rId3"/>
          <a:stretch>
            <a:fillRect/>
          </a:stretch>
        </p:blipFill>
        <p:spPr>
          <a:xfrm>
            <a:off x="8974821" y="3958703"/>
            <a:ext cx="1691966" cy="1341530"/>
          </a:xfrm>
          <a:prstGeom prst="rect">
            <a:avLst/>
          </a:prstGeom>
        </p:spPr>
      </p:pic>
      <p:sp>
        <p:nvSpPr>
          <p:cNvPr id="4" name="Fußzeilenplatzhalter 3">
            <a:extLst>
              <a:ext uri="{FF2B5EF4-FFF2-40B4-BE49-F238E27FC236}">
                <a16:creationId xmlns:a16="http://schemas.microsoft.com/office/drawing/2014/main" id="{49A41066-7035-4CA3-9EB5-3416C1EB9674}"/>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CB9C2412-5E63-46EB-8D6A-9488296E5D76}"/>
              </a:ext>
            </a:extLst>
          </p:cNvPr>
          <p:cNvSpPr>
            <a:spLocks noGrp="1"/>
          </p:cNvSpPr>
          <p:nvPr>
            <p:ph type="sldNum" sz="quarter" idx="11"/>
          </p:nvPr>
        </p:nvSpPr>
        <p:spPr/>
        <p:txBody>
          <a:bodyPr/>
          <a:lstStyle/>
          <a:p>
            <a:r>
              <a:rPr lang="en-US"/>
              <a:t>Page </a:t>
            </a:r>
            <a:fld id="{15EBE321-CBB1-4E91-BD14-37C8D44326FB}" type="slidenum">
              <a:rPr lang="en-US" smtClean="0"/>
              <a:pPr/>
              <a:t>27</a:t>
            </a:fld>
            <a:endParaRPr lang="en-US" dirty="0"/>
          </a:p>
        </p:txBody>
      </p:sp>
    </p:spTree>
    <p:extLst>
      <p:ext uri="{BB962C8B-B14F-4D97-AF65-F5344CB8AC3E}">
        <p14:creationId xmlns:p14="http://schemas.microsoft.com/office/powerpoint/2010/main" val="366344521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SIGUARD PDP</a:t>
            </a:r>
            <a:br>
              <a:rPr lang="de-DE" dirty="0"/>
            </a:br>
            <a:r>
              <a:rPr lang="en-US" dirty="0"/>
              <a:t>Calculations for WAP</a:t>
            </a:r>
          </a:p>
        </p:txBody>
      </p:sp>
      <p:sp>
        <p:nvSpPr>
          <p:cNvPr id="3" name="Content Placeholder 2"/>
          <p:cNvSpPr>
            <a:spLocks noGrp="1"/>
          </p:cNvSpPr>
          <p:nvPr>
            <p:ph idx="4294967295"/>
          </p:nvPr>
        </p:nvSpPr>
        <p:spPr>
          <a:xfrm>
            <a:off x="410400" y="1145682"/>
            <a:ext cx="7843838" cy="4749800"/>
          </a:xfrm>
        </p:spPr>
        <p:txBody>
          <a:bodyPr/>
          <a:lstStyle/>
          <a:p>
            <a:pPr marL="0" lvl="1" indent="1587">
              <a:buNone/>
            </a:pPr>
            <a:r>
              <a:rPr lang="en-US" b="1" i="1" dirty="0"/>
              <a:t>Rising edge</a:t>
            </a:r>
            <a:r>
              <a:rPr lang="en-US" dirty="0"/>
              <a:t> detects a rising edge and sets the output to 1 for one cycle. Falling edge detector can be build by using NOT calculation. Input and output signals are digital signals.</a:t>
            </a:r>
          </a:p>
          <a:p>
            <a:pPr marL="0" lvl="1" indent="1587">
              <a:buNone/>
            </a:pPr>
            <a:endParaRPr lang="en-US" b="1" i="1" dirty="0"/>
          </a:p>
          <a:p>
            <a:pPr marL="0" lvl="1" indent="1587">
              <a:buNone/>
            </a:pPr>
            <a:r>
              <a:rPr lang="en-US" b="1" i="1" dirty="0"/>
              <a:t>Flip flop </a:t>
            </a:r>
            <a:r>
              <a:rPr lang="en-US" dirty="0"/>
              <a:t>with dominant reset signal. Input and output signals are digital signals. Output is set to 0 if </a:t>
            </a:r>
            <a:r>
              <a:rPr lang="en-US" i="1" dirty="0"/>
              <a:t>RST </a:t>
            </a:r>
            <a:r>
              <a:rPr lang="en-US" dirty="0"/>
              <a:t>has rising edge. Output is set to 1 if </a:t>
            </a:r>
            <a:r>
              <a:rPr lang="en-US" i="1" dirty="0"/>
              <a:t>SET </a:t>
            </a:r>
            <a:r>
              <a:rPr lang="en-US" dirty="0"/>
              <a:t>has a rising edge.</a:t>
            </a:r>
          </a:p>
          <a:p>
            <a:pPr marL="0" lvl="1" indent="1587">
              <a:buNone/>
            </a:pPr>
            <a:endParaRPr lang="en-US" b="1" i="1" dirty="0"/>
          </a:p>
          <a:p>
            <a:pPr marL="0" lvl="1" indent="1587">
              <a:buNone/>
            </a:pPr>
            <a:r>
              <a:rPr lang="en-US" b="1" i="1" dirty="0"/>
              <a:t>Timer </a:t>
            </a:r>
            <a:r>
              <a:rPr lang="en-US" dirty="0"/>
              <a:t>with pickup time and dropout time</a:t>
            </a:r>
          </a:p>
          <a:p>
            <a:pPr lvl="1">
              <a:buFont typeface="Arial" pitchFamily="34" charset="0"/>
              <a:buChar char="•"/>
            </a:pPr>
            <a:r>
              <a:rPr lang="en-US" dirty="0"/>
              <a:t>O is set to 1 if I is 1 for longer than pickup time</a:t>
            </a:r>
          </a:p>
          <a:p>
            <a:pPr lvl="1">
              <a:buFont typeface="Arial" pitchFamily="34" charset="0"/>
              <a:buChar char="•"/>
            </a:pPr>
            <a:r>
              <a:rPr lang="en-US" dirty="0"/>
              <a:t>O is set to 0 if I is 1 for longer than dropout time</a:t>
            </a:r>
          </a:p>
          <a:p>
            <a:pPr lvl="1">
              <a:buNone/>
            </a:pPr>
            <a:endParaRPr lang="en-US" dirty="0"/>
          </a:p>
          <a:p>
            <a:pPr lvl="1">
              <a:buNone/>
            </a:pPr>
            <a:r>
              <a:rPr lang="en-US" dirty="0"/>
              <a:t>Pickup time and dropout time can be set to 0.</a:t>
            </a:r>
          </a:p>
          <a:p>
            <a:pPr lvl="1">
              <a:buFont typeface="Arial" pitchFamily="34" charset="0"/>
              <a:buChar char="•"/>
            </a:pPr>
            <a:endParaRPr lang="en-US" dirty="0"/>
          </a:p>
          <a:p>
            <a:pPr lvl="1">
              <a:buFont typeface="Arial" pitchFamily="34" charset="0"/>
              <a:buChar char="•"/>
            </a:pPr>
            <a:endParaRPr lang="en-US" dirty="0"/>
          </a:p>
          <a:p>
            <a:pPr lvl="1">
              <a:buNone/>
            </a:pPr>
            <a:endParaRPr lang="en-US" dirty="0"/>
          </a:p>
        </p:txBody>
      </p:sp>
      <p:pic>
        <p:nvPicPr>
          <p:cNvPr id="67587" name="Picture 3"/>
          <p:cNvPicPr>
            <a:picLocks noChangeAspect="1" noChangeArrowheads="1"/>
          </p:cNvPicPr>
          <p:nvPr/>
        </p:nvPicPr>
        <p:blipFill>
          <a:blip r:embed="rId2"/>
          <a:srcRect/>
          <a:stretch>
            <a:fillRect/>
          </a:stretch>
        </p:blipFill>
        <p:spPr bwMode="auto">
          <a:xfrm>
            <a:off x="5808118" y="3932794"/>
            <a:ext cx="6094536" cy="1779524"/>
          </a:xfrm>
          <a:prstGeom prst="rect">
            <a:avLst/>
          </a:prstGeom>
          <a:noFill/>
          <a:ln w="9525">
            <a:noFill/>
            <a:miter lim="800000"/>
            <a:headEnd/>
            <a:tailEnd/>
          </a:ln>
        </p:spPr>
      </p:pic>
      <p:pic>
        <p:nvPicPr>
          <p:cNvPr id="4" name="Picture 3">
            <a:extLst>
              <a:ext uri="{FF2B5EF4-FFF2-40B4-BE49-F238E27FC236}">
                <a16:creationId xmlns:a16="http://schemas.microsoft.com/office/drawing/2014/main" id="{1199E383-9959-4A25-A51E-0B35B89C7FA8}"/>
              </a:ext>
            </a:extLst>
          </p:cNvPr>
          <p:cNvPicPr>
            <a:picLocks noChangeAspect="1"/>
          </p:cNvPicPr>
          <p:nvPr/>
        </p:nvPicPr>
        <p:blipFill>
          <a:blip r:embed="rId3"/>
          <a:stretch>
            <a:fillRect/>
          </a:stretch>
        </p:blipFill>
        <p:spPr>
          <a:xfrm>
            <a:off x="8614968" y="2445100"/>
            <a:ext cx="1167464" cy="983900"/>
          </a:xfrm>
          <a:prstGeom prst="rect">
            <a:avLst/>
          </a:prstGeom>
        </p:spPr>
      </p:pic>
      <p:pic>
        <p:nvPicPr>
          <p:cNvPr id="5" name="Picture 4">
            <a:extLst>
              <a:ext uri="{FF2B5EF4-FFF2-40B4-BE49-F238E27FC236}">
                <a16:creationId xmlns:a16="http://schemas.microsoft.com/office/drawing/2014/main" id="{346F7814-BFF3-4B07-A10B-CD916DDFBE91}"/>
              </a:ext>
            </a:extLst>
          </p:cNvPr>
          <p:cNvPicPr>
            <a:picLocks noChangeAspect="1"/>
          </p:cNvPicPr>
          <p:nvPr/>
        </p:nvPicPr>
        <p:blipFill>
          <a:blip r:embed="rId4"/>
          <a:stretch>
            <a:fillRect/>
          </a:stretch>
        </p:blipFill>
        <p:spPr>
          <a:xfrm>
            <a:off x="8614968" y="1145682"/>
            <a:ext cx="1167464" cy="983900"/>
          </a:xfrm>
          <a:prstGeom prst="rect">
            <a:avLst/>
          </a:prstGeom>
        </p:spPr>
      </p:pic>
      <p:sp>
        <p:nvSpPr>
          <p:cNvPr id="6" name="Fußzeilenplatzhalter 5">
            <a:extLst>
              <a:ext uri="{FF2B5EF4-FFF2-40B4-BE49-F238E27FC236}">
                <a16:creationId xmlns:a16="http://schemas.microsoft.com/office/drawing/2014/main" id="{C1C844B6-2496-4284-A769-8141B336CDEB}"/>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7" name="Foliennummernplatzhalter 6">
            <a:extLst>
              <a:ext uri="{FF2B5EF4-FFF2-40B4-BE49-F238E27FC236}">
                <a16:creationId xmlns:a16="http://schemas.microsoft.com/office/drawing/2014/main" id="{C4EF0792-1A15-496C-86E0-29A4576F2A14}"/>
              </a:ext>
            </a:extLst>
          </p:cNvPr>
          <p:cNvSpPr>
            <a:spLocks noGrp="1"/>
          </p:cNvSpPr>
          <p:nvPr>
            <p:ph type="sldNum" sz="quarter" idx="11"/>
          </p:nvPr>
        </p:nvSpPr>
        <p:spPr/>
        <p:txBody>
          <a:bodyPr/>
          <a:lstStyle/>
          <a:p>
            <a:r>
              <a:rPr lang="en-US"/>
              <a:t>Page </a:t>
            </a:r>
            <a:fld id="{15EBE321-CBB1-4E91-BD14-37C8D44326FB}" type="slidenum">
              <a:rPr lang="en-US" smtClean="0"/>
              <a:pPr/>
              <a:t>28</a:t>
            </a:fld>
            <a:endParaRPr lang="en-US" dirty="0"/>
          </a:p>
        </p:txBody>
      </p:sp>
    </p:spTree>
    <p:extLst>
      <p:ext uri="{BB962C8B-B14F-4D97-AF65-F5344CB8AC3E}">
        <p14:creationId xmlns:p14="http://schemas.microsoft.com/office/powerpoint/2010/main" val="115523147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SIGUARD PDP</a:t>
            </a:r>
            <a:br>
              <a:rPr lang="de-DE" dirty="0"/>
            </a:br>
            <a:r>
              <a:rPr lang="en-US" dirty="0"/>
              <a:t>Calculations for WAP</a:t>
            </a:r>
          </a:p>
        </p:txBody>
      </p:sp>
      <p:sp>
        <p:nvSpPr>
          <p:cNvPr id="3" name="Content Placeholder 2"/>
          <p:cNvSpPr>
            <a:spLocks noGrp="1"/>
          </p:cNvSpPr>
          <p:nvPr>
            <p:ph idx="4294967295"/>
          </p:nvPr>
        </p:nvSpPr>
        <p:spPr>
          <a:xfrm>
            <a:off x="410400" y="1227308"/>
            <a:ext cx="7843838" cy="4749800"/>
          </a:xfrm>
        </p:spPr>
        <p:txBody>
          <a:bodyPr/>
          <a:lstStyle/>
          <a:p>
            <a:pPr marL="0" lvl="1" indent="1587">
              <a:buNone/>
            </a:pPr>
            <a:r>
              <a:rPr lang="en-US" b="1" i="1" dirty="0"/>
              <a:t>PMU status to digital</a:t>
            </a:r>
            <a:r>
              <a:rPr lang="en-US" i="1" dirty="0"/>
              <a:t>, </a:t>
            </a:r>
            <a:r>
              <a:rPr lang="en-US" dirty="0"/>
              <a:t>digital output is set to 1 if quality of PMU is </a:t>
            </a:r>
            <a:r>
              <a:rPr lang="en-US" i="1" dirty="0"/>
              <a:t>good </a:t>
            </a:r>
            <a:r>
              <a:rPr lang="en-US" dirty="0"/>
              <a:t>(data was received, but no </a:t>
            </a:r>
            <a:r>
              <a:rPr lang="en-US" i="1" dirty="0"/>
              <a:t>PMU Error</a:t>
            </a:r>
            <a:r>
              <a:rPr lang="en-US" dirty="0"/>
              <a:t>, no </a:t>
            </a:r>
            <a:r>
              <a:rPr lang="en-US" i="1" dirty="0"/>
              <a:t>PMU data invalid</a:t>
            </a:r>
            <a:r>
              <a:rPr lang="en-US" dirty="0"/>
              <a:t>, no </a:t>
            </a:r>
            <a:r>
              <a:rPr lang="en-US" i="1" dirty="0"/>
              <a:t>PMU time sync error</a:t>
            </a:r>
            <a:r>
              <a:rPr lang="en-US" dirty="0"/>
              <a:t>, no </a:t>
            </a:r>
            <a:r>
              <a:rPr lang="en-US" i="1" dirty="0"/>
              <a:t>Out of service</a:t>
            </a:r>
            <a:r>
              <a:rPr lang="en-US" dirty="0"/>
              <a:t>)</a:t>
            </a:r>
            <a:endParaRPr lang="en-US" b="1" i="1" dirty="0"/>
          </a:p>
          <a:p>
            <a:pPr lvl="1">
              <a:buFont typeface="Arial" pitchFamily="34" charset="0"/>
              <a:buChar char="•"/>
            </a:pPr>
            <a:endParaRPr lang="en-US" dirty="0"/>
          </a:p>
          <a:p>
            <a:pPr lvl="1">
              <a:buNone/>
            </a:pPr>
            <a:endParaRPr lang="en-US" b="1" i="1" dirty="0"/>
          </a:p>
          <a:p>
            <a:pPr lvl="1">
              <a:buNone/>
            </a:pPr>
            <a:r>
              <a:rPr lang="en-US" b="1" i="1" dirty="0"/>
              <a:t>Delayer </a:t>
            </a:r>
            <a:r>
              <a:rPr lang="en-US" dirty="0"/>
              <a:t>to allow closing of loops. Available for phasors, analogs and digitals.</a:t>
            </a:r>
            <a:endParaRPr lang="en-US" b="1" i="1" dirty="0"/>
          </a:p>
          <a:p>
            <a:pPr lvl="1">
              <a:buNone/>
            </a:pPr>
            <a:endParaRPr lang="en-US" dirty="0"/>
          </a:p>
          <a:p>
            <a:pPr lvl="1">
              <a:buNone/>
            </a:pPr>
            <a:endParaRPr lang="en-US" dirty="0"/>
          </a:p>
          <a:p>
            <a:pPr lvl="1">
              <a:buNone/>
            </a:pPr>
            <a:r>
              <a:rPr lang="en-US" b="1" i="1" dirty="0"/>
              <a:t>Logical AND / OR </a:t>
            </a:r>
            <a:r>
              <a:rPr lang="en-US" dirty="0"/>
              <a:t>with more than two inputs, inversion possible</a:t>
            </a:r>
          </a:p>
          <a:p>
            <a:pPr lvl="1">
              <a:buNone/>
            </a:pPr>
            <a:endParaRPr lang="en-US" dirty="0"/>
          </a:p>
          <a:p>
            <a:pPr lvl="1">
              <a:buNone/>
            </a:pPr>
            <a:endParaRPr lang="en-US" dirty="0"/>
          </a:p>
          <a:p>
            <a:pPr lvl="1">
              <a:buNone/>
            </a:pPr>
            <a:r>
              <a:rPr lang="en-US" b="1" i="1" dirty="0"/>
              <a:t>Absolute value</a:t>
            </a:r>
            <a:r>
              <a:rPr lang="en-US" dirty="0"/>
              <a:t> of phasor (= magnitude) or analog</a:t>
            </a:r>
          </a:p>
          <a:p>
            <a:pPr lvl="1">
              <a:buNone/>
            </a:pPr>
            <a:endParaRPr lang="en-US" b="1" i="1" dirty="0"/>
          </a:p>
          <a:p>
            <a:pPr lvl="1">
              <a:buNone/>
            </a:pPr>
            <a:endParaRPr lang="en-US" b="1" i="1" dirty="0"/>
          </a:p>
          <a:p>
            <a:pPr lvl="1">
              <a:buNone/>
            </a:pPr>
            <a:r>
              <a:rPr lang="en-US" b="1" i="1" dirty="0"/>
              <a:t>Rate of change of analog value</a:t>
            </a:r>
          </a:p>
        </p:txBody>
      </p:sp>
      <p:pic>
        <p:nvPicPr>
          <p:cNvPr id="68610" name="Picture 2" descr="C:\Users\deb00aq1\AppData\Local\Microsoft\Windows\Temporary Internet Files\Content.IE5\SOITDMXX\check_mark_clip_art_9677[1].jpg"/>
          <p:cNvPicPr>
            <a:picLocks noChangeAspect="1" noChangeArrowheads="1"/>
          </p:cNvPicPr>
          <p:nvPr/>
        </p:nvPicPr>
        <p:blipFill>
          <a:blip r:embed="rId2"/>
          <a:srcRect/>
          <a:stretch>
            <a:fillRect/>
          </a:stretch>
        </p:blipFill>
        <p:spPr bwMode="auto">
          <a:xfrm>
            <a:off x="10114373" y="1582112"/>
            <a:ext cx="659710" cy="613299"/>
          </a:xfrm>
          <a:prstGeom prst="rect">
            <a:avLst/>
          </a:prstGeom>
          <a:noFill/>
        </p:spPr>
      </p:pic>
      <p:sp>
        <p:nvSpPr>
          <p:cNvPr id="68613" name="Rectangle 5"/>
          <p:cNvSpPr>
            <a:spLocks noChangeArrowheads="1"/>
          </p:cNvSpPr>
          <p:nvPr/>
        </p:nvSpPr>
        <p:spPr bwMode="auto">
          <a:xfrm>
            <a:off x="0" y="-182721"/>
            <a:ext cx="184635" cy="369012"/>
          </a:xfrm>
          <a:prstGeom prst="rect">
            <a:avLst/>
          </a:prstGeom>
          <a:noFill/>
          <a:ln w="9525">
            <a:noFill/>
            <a:miter lim="800000"/>
            <a:headEnd/>
            <a:tailEnd/>
          </a:ln>
          <a:effectLst/>
        </p:spPr>
        <p:txBody>
          <a:bodyPr vert="horz" wrap="none" lIns="91392" tIns="45696" rIns="91392" bIns="45696" numCol="1" anchor="ctr" anchorCtr="0" compatLnSpc="1">
            <a:prstTxWarp prst="textNoShape">
              <a:avLst/>
            </a:prstTxWarp>
            <a:spAutoFit/>
          </a:bodyPr>
          <a:lstStyle/>
          <a:p>
            <a:endParaRPr lang="de-DE" sz="1799"/>
          </a:p>
        </p:txBody>
      </p:sp>
      <p:sp>
        <p:nvSpPr>
          <p:cNvPr id="68615" name="Rectangle 7"/>
          <p:cNvSpPr>
            <a:spLocks noChangeArrowheads="1"/>
          </p:cNvSpPr>
          <p:nvPr/>
        </p:nvSpPr>
        <p:spPr bwMode="auto">
          <a:xfrm>
            <a:off x="0" y="-182721"/>
            <a:ext cx="184635" cy="369012"/>
          </a:xfrm>
          <a:prstGeom prst="rect">
            <a:avLst/>
          </a:prstGeom>
          <a:noFill/>
          <a:ln w="9525">
            <a:noFill/>
            <a:miter lim="800000"/>
            <a:headEnd/>
            <a:tailEnd/>
          </a:ln>
          <a:effectLst/>
        </p:spPr>
        <p:txBody>
          <a:bodyPr vert="horz" wrap="none" lIns="91392" tIns="45696" rIns="91392" bIns="45696" numCol="1" anchor="ctr" anchorCtr="0" compatLnSpc="1">
            <a:prstTxWarp prst="textNoShape">
              <a:avLst/>
            </a:prstTxWarp>
            <a:spAutoFit/>
          </a:bodyPr>
          <a:lstStyle/>
          <a:p>
            <a:endParaRPr lang="de-DE" sz="1799"/>
          </a:p>
        </p:txBody>
      </p:sp>
      <p:sp>
        <p:nvSpPr>
          <p:cNvPr id="68617" name="Rectangle 9"/>
          <p:cNvSpPr>
            <a:spLocks noChangeArrowheads="1"/>
          </p:cNvSpPr>
          <p:nvPr/>
        </p:nvSpPr>
        <p:spPr bwMode="auto">
          <a:xfrm>
            <a:off x="0" y="45760"/>
            <a:ext cx="184635" cy="369012"/>
          </a:xfrm>
          <a:prstGeom prst="rect">
            <a:avLst/>
          </a:prstGeom>
          <a:noFill/>
          <a:ln w="9525">
            <a:noFill/>
            <a:miter lim="800000"/>
            <a:headEnd/>
            <a:tailEnd/>
          </a:ln>
          <a:effectLst/>
        </p:spPr>
        <p:txBody>
          <a:bodyPr vert="horz" wrap="none" lIns="91392" tIns="45696" rIns="91392" bIns="45696" numCol="1" anchor="ctr" anchorCtr="0" compatLnSpc="1">
            <a:prstTxWarp prst="textNoShape">
              <a:avLst/>
            </a:prstTxWarp>
            <a:spAutoFit/>
          </a:bodyPr>
          <a:lstStyle/>
          <a:p>
            <a:endParaRPr lang="de-DE" sz="1799"/>
          </a:p>
        </p:txBody>
      </p:sp>
      <p:pic>
        <p:nvPicPr>
          <p:cNvPr id="68616" name="Picture 8"/>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6743735" y="4420668"/>
            <a:ext cx="1447046" cy="694963"/>
          </a:xfrm>
          <a:prstGeom prst="rect">
            <a:avLst/>
          </a:prstGeom>
          <a:noFill/>
        </p:spPr>
      </p:pic>
      <p:sp>
        <p:nvSpPr>
          <p:cNvPr id="68618" name="Rectangle 10"/>
          <p:cNvSpPr>
            <a:spLocks noChangeArrowheads="1"/>
          </p:cNvSpPr>
          <p:nvPr/>
        </p:nvSpPr>
        <p:spPr bwMode="auto">
          <a:xfrm>
            <a:off x="0" y="969204"/>
            <a:ext cx="184635" cy="369012"/>
          </a:xfrm>
          <a:prstGeom prst="rect">
            <a:avLst/>
          </a:prstGeom>
          <a:noFill/>
          <a:ln w="9525">
            <a:noFill/>
            <a:miter lim="800000"/>
            <a:headEnd/>
            <a:tailEnd/>
          </a:ln>
          <a:effectLst/>
        </p:spPr>
        <p:txBody>
          <a:bodyPr vert="horz" wrap="none" lIns="91392" tIns="45696" rIns="91392" bIns="45696" numCol="1" anchor="ctr" anchorCtr="0" compatLnSpc="1">
            <a:prstTxWarp prst="textNoShape">
              <a:avLst/>
            </a:prstTxWarp>
            <a:spAutoFit/>
          </a:bodyPr>
          <a:lstStyle/>
          <a:p>
            <a:pPr defTabSz="913943" fontAlgn="base">
              <a:spcBef>
                <a:spcPct val="0"/>
              </a:spcBef>
              <a:spcAft>
                <a:spcPct val="0"/>
              </a:spcAft>
            </a:pPr>
            <a:endParaRPr lang="de-DE" sz="1799">
              <a:latin typeface="Arial" pitchFamily="34" charset="0"/>
              <a:cs typeface="Arial" pitchFamily="34" charset="0"/>
            </a:endParaRPr>
          </a:p>
        </p:txBody>
      </p:sp>
      <p:sp>
        <p:nvSpPr>
          <p:cNvPr id="68620" name="Rectangle 12"/>
          <p:cNvSpPr>
            <a:spLocks noChangeArrowheads="1"/>
          </p:cNvSpPr>
          <p:nvPr/>
        </p:nvSpPr>
        <p:spPr bwMode="auto">
          <a:xfrm>
            <a:off x="0" y="45760"/>
            <a:ext cx="184635" cy="369012"/>
          </a:xfrm>
          <a:prstGeom prst="rect">
            <a:avLst/>
          </a:prstGeom>
          <a:noFill/>
          <a:ln w="9525">
            <a:noFill/>
            <a:miter lim="800000"/>
            <a:headEnd/>
            <a:tailEnd/>
          </a:ln>
          <a:effectLst/>
        </p:spPr>
        <p:txBody>
          <a:bodyPr vert="horz" wrap="none" lIns="91392" tIns="45696" rIns="91392" bIns="45696" numCol="1" anchor="ctr" anchorCtr="0" compatLnSpc="1">
            <a:prstTxWarp prst="textNoShape">
              <a:avLst/>
            </a:prstTxWarp>
            <a:spAutoFit/>
          </a:bodyPr>
          <a:lstStyle/>
          <a:p>
            <a:endParaRPr lang="de-DE" sz="1799"/>
          </a:p>
        </p:txBody>
      </p:sp>
      <p:pic>
        <p:nvPicPr>
          <p:cNvPr id="68619" name="Picture 11"/>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5664177" y="5300233"/>
            <a:ext cx="1532727" cy="1123365"/>
          </a:xfrm>
          <a:prstGeom prst="rect">
            <a:avLst/>
          </a:prstGeom>
          <a:noFill/>
        </p:spPr>
      </p:pic>
      <p:sp>
        <p:nvSpPr>
          <p:cNvPr id="68621" name="Rectangle 13"/>
          <p:cNvSpPr>
            <a:spLocks noChangeArrowheads="1"/>
          </p:cNvSpPr>
          <p:nvPr/>
        </p:nvSpPr>
        <p:spPr bwMode="auto">
          <a:xfrm>
            <a:off x="0" y="1397606"/>
            <a:ext cx="184635" cy="369012"/>
          </a:xfrm>
          <a:prstGeom prst="rect">
            <a:avLst/>
          </a:prstGeom>
          <a:noFill/>
          <a:ln w="9525">
            <a:noFill/>
            <a:miter lim="800000"/>
            <a:headEnd/>
            <a:tailEnd/>
          </a:ln>
          <a:effectLst/>
        </p:spPr>
        <p:txBody>
          <a:bodyPr vert="horz" wrap="none" lIns="91392" tIns="45696" rIns="91392" bIns="45696" numCol="1" anchor="ctr" anchorCtr="0" compatLnSpc="1">
            <a:prstTxWarp prst="textNoShape">
              <a:avLst/>
            </a:prstTxWarp>
            <a:spAutoFit/>
          </a:bodyPr>
          <a:lstStyle/>
          <a:p>
            <a:pPr defTabSz="913943" fontAlgn="base">
              <a:spcBef>
                <a:spcPct val="0"/>
              </a:spcBef>
              <a:spcAft>
                <a:spcPct val="0"/>
              </a:spcAft>
            </a:pPr>
            <a:endParaRPr lang="de-DE" sz="1799">
              <a:latin typeface="Arial" pitchFamily="34" charset="0"/>
              <a:cs typeface="Arial" pitchFamily="34" charset="0"/>
            </a:endParaRPr>
          </a:p>
        </p:txBody>
      </p:sp>
      <p:pic>
        <p:nvPicPr>
          <p:cNvPr id="22" name="Picture 21" descr="E_CC_SIP5_GD_W4_DE_sRGB">
            <a:extLst>
              <a:ext uri="{FF2B5EF4-FFF2-40B4-BE49-F238E27FC236}">
                <a16:creationId xmlns:a16="http://schemas.microsoft.com/office/drawing/2014/main" id="{2D99DBD8-A7D1-470B-A7C1-E2BDF5165B21}"/>
              </a:ext>
            </a:extLst>
          </p:cNvPr>
          <p:cNvPicPr>
            <a:picLocks noChangeAspect="1" noChangeArrowheads="1"/>
          </p:cNvPicPr>
          <p:nvPr/>
        </p:nvPicPr>
        <p:blipFill>
          <a:blip r:embed="rId5"/>
          <a:srcRect/>
          <a:stretch>
            <a:fillRect/>
          </a:stretch>
        </p:blipFill>
        <p:spPr bwMode="auto">
          <a:xfrm>
            <a:off x="9358045" y="1174526"/>
            <a:ext cx="730820" cy="1348297"/>
          </a:xfrm>
          <a:prstGeom prst="rect">
            <a:avLst/>
          </a:prstGeom>
          <a:noFill/>
          <a:ln w="9525">
            <a:noFill/>
            <a:miter lim="800000"/>
            <a:headEnd/>
            <a:tailEnd/>
          </a:ln>
        </p:spPr>
      </p:pic>
      <p:pic>
        <p:nvPicPr>
          <p:cNvPr id="4" name="Picture 3">
            <a:extLst>
              <a:ext uri="{FF2B5EF4-FFF2-40B4-BE49-F238E27FC236}">
                <a16:creationId xmlns:a16="http://schemas.microsoft.com/office/drawing/2014/main" id="{073BB9FC-7A1E-4359-AFFA-83C90A73A831}"/>
              </a:ext>
            </a:extLst>
          </p:cNvPr>
          <p:cNvPicPr>
            <a:picLocks noChangeAspect="1"/>
          </p:cNvPicPr>
          <p:nvPr/>
        </p:nvPicPr>
        <p:blipFill>
          <a:blip r:embed="rId6"/>
          <a:stretch>
            <a:fillRect/>
          </a:stretch>
        </p:blipFill>
        <p:spPr>
          <a:xfrm>
            <a:off x="9048477" y="2582253"/>
            <a:ext cx="2731573" cy="1253060"/>
          </a:xfrm>
          <a:prstGeom prst="rect">
            <a:avLst/>
          </a:prstGeom>
        </p:spPr>
      </p:pic>
      <p:pic>
        <p:nvPicPr>
          <p:cNvPr id="5" name="Picture 4">
            <a:extLst>
              <a:ext uri="{FF2B5EF4-FFF2-40B4-BE49-F238E27FC236}">
                <a16:creationId xmlns:a16="http://schemas.microsoft.com/office/drawing/2014/main" id="{80B9C95F-A702-4DD6-ADB3-56A177754459}"/>
              </a:ext>
            </a:extLst>
          </p:cNvPr>
          <p:cNvPicPr>
            <a:picLocks noChangeAspect="1"/>
          </p:cNvPicPr>
          <p:nvPr/>
        </p:nvPicPr>
        <p:blipFill>
          <a:blip r:embed="rId7"/>
          <a:stretch>
            <a:fillRect/>
          </a:stretch>
        </p:blipFill>
        <p:spPr>
          <a:xfrm>
            <a:off x="7647657" y="3485048"/>
            <a:ext cx="823370" cy="891872"/>
          </a:xfrm>
          <a:prstGeom prst="rect">
            <a:avLst/>
          </a:prstGeom>
        </p:spPr>
      </p:pic>
      <p:sp>
        <p:nvSpPr>
          <p:cNvPr id="6" name="Fußzeilenplatzhalter 5">
            <a:extLst>
              <a:ext uri="{FF2B5EF4-FFF2-40B4-BE49-F238E27FC236}">
                <a16:creationId xmlns:a16="http://schemas.microsoft.com/office/drawing/2014/main" id="{A56BA9A0-D2EB-429A-9975-5A78166C9310}"/>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7" name="Foliennummernplatzhalter 6">
            <a:extLst>
              <a:ext uri="{FF2B5EF4-FFF2-40B4-BE49-F238E27FC236}">
                <a16:creationId xmlns:a16="http://schemas.microsoft.com/office/drawing/2014/main" id="{BC04B929-E14C-4E13-8542-F0237A8F34B5}"/>
              </a:ext>
            </a:extLst>
          </p:cNvPr>
          <p:cNvSpPr>
            <a:spLocks noGrp="1"/>
          </p:cNvSpPr>
          <p:nvPr>
            <p:ph type="sldNum" sz="quarter" idx="11"/>
          </p:nvPr>
        </p:nvSpPr>
        <p:spPr/>
        <p:txBody>
          <a:bodyPr/>
          <a:lstStyle/>
          <a:p>
            <a:r>
              <a:rPr lang="en-US"/>
              <a:t>Page </a:t>
            </a:r>
            <a:fld id="{15EBE321-CBB1-4E91-BD14-37C8D44326FB}" type="slidenum">
              <a:rPr lang="en-US" smtClean="0"/>
              <a:pPr/>
              <a:t>29</a:t>
            </a:fld>
            <a:endParaRPr lang="en-US" dirty="0"/>
          </a:p>
        </p:txBody>
      </p:sp>
    </p:spTree>
    <p:extLst>
      <p:ext uri="{BB962C8B-B14F-4D97-AF65-F5344CB8AC3E}">
        <p14:creationId xmlns:p14="http://schemas.microsoft.com/office/powerpoint/2010/main" val="2965656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Title">
            <a:extLst>
              <a:ext uri="{FF2B5EF4-FFF2-40B4-BE49-F238E27FC236}">
                <a16:creationId xmlns:a16="http://schemas.microsoft.com/office/drawing/2014/main" id="{86944A14-F613-46CA-BBD9-C02856109181}"/>
              </a:ext>
            </a:extLst>
          </p:cNvPr>
          <p:cNvSpPr>
            <a:spLocks noGrp="1"/>
          </p:cNvSpPr>
          <p:nvPr>
            <p:ph type="title"/>
          </p:nvPr>
        </p:nvSpPr>
        <p:spPr>
          <a:xfrm>
            <a:off x="410399" y="1414463"/>
            <a:ext cx="11370437" cy="615553"/>
          </a:xfrm>
        </p:spPr>
        <p:txBody>
          <a:bodyPr/>
          <a:lstStyle/>
          <a:p>
            <a:r>
              <a:rPr lang="en-US" dirty="0"/>
              <a:t>SIGUARD PDP</a:t>
            </a:r>
            <a:endParaRPr lang="en-US" b="0" dirty="0"/>
          </a:p>
        </p:txBody>
      </p:sp>
      <p:sp>
        <p:nvSpPr>
          <p:cNvPr id="2" name="Subtitle">
            <a:extLst>
              <a:ext uri="{FF2B5EF4-FFF2-40B4-BE49-F238E27FC236}">
                <a16:creationId xmlns:a16="http://schemas.microsoft.com/office/drawing/2014/main" id="{27507DB2-A004-4C7F-BB03-CAB07E07A0D3}"/>
              </a:ext>
            </a:extLst>
          </p:cNvPr>
          <p:cNvSpPr>
            <a:spLocks noGrp="1"/>
          </p:cNvSpPr>
          <p:nvPr>
            <p:ph type="subTitle" idx="1"/>
          </p:nvPr>
        </p:nvSpPr>
        <p:spPr/>
        <p:txBody>
          <a:bodyPr/>
          <a:lstStyle/>
          <a:p>
            <a:pPr lvl="2"/>
            <a:r>
              <a:rPr lang="en-US" dirty="0"/>
              <a:t>Scalable product for Wide Area Monitoring, Protection and Control</a:t>
            </a:r>
          </a:p>
          <a:p>
            <a:pPr lvl="2"/>
            <a:r>
              <a:rPr lang="en-US" dirty="0"/>
              <a:t>Dr. Andreas Litzinger</a:t>
            </a:r>
          </a:p>
        </p:txBody>
      </p:sp>
      <p:sp>
        <p:nvSpPr>
          <p:cNvPr id="4" name="Footer Placeholder">
            <a:extLst>
              <a:ext uri="{FF2B5EF4-FFF2-40B4-BE49-F238E27FC236}">
                <a16:creationId xmlns:a16="http://schemas.microsoft.com/office/drawing/2014/main" id="{44BC0098-81DD-493C-B26A-7A784197B2FA}"/>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3" name="Foliennummernplatzhalter 2">
            <a:extLst>
              <a:ext uri="{FF2B5EF4-FFF2-40B4-BE49-F238E27FC236}">
                <a16:creationId xmlns:a16="http://schemas.microsoft.com/office/drawing/2014/main" id="{A085ADEA-7F57-413D-9E57-CAB5F2D1178A}"/>
              </a:ext>
            </a:extLst>
          </p:cNvPr>
          <p:cNvSpPr>
            <a:spLocks noGrp="1"/>
          </p:cNvSpPr>
          <p:nvPr>
            <p:ph type="sldNum" sz="quarter" idx="11"/>
          </p:nvPr>
        </p:nvSpPr>
        <p:spPr/>
        <p:txBody>
          <a:bodyPr/>
          <a:lstStyle/>
          <a:p>
            <a:r>
              <a:rPr lang="en-US"/>
              <a:t>Page </a:t>
            </a:r>
            <a:fld id="{15EBE321-CBB1-4E91-BD14-37C8D44326FB}" type="slidenum">
              <a:rPr lang="en-US" smtClean="0"/>
              <a:pPr/>
              <a:t>3</a:t>
            </a:fld>
            <a:endParaRPr lang="en-US" dirty="0"/>
          </a:p>
        </p:txBody>
      </p:sp>
    </p:spTree>
    <p:extLst>
      <p:ext uri="{BB962C8B-B14F-4D97-AF65-F5344CB8AC3E}">
        <p14:creationId xmlns:p14="http://schemas.microsoft.com/office/powerpoint/2010/main" val="8694991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SIGUARD PDP</a:t>
            </a:r>
            <a:br>
              <a:rPr lang="de-DE" dirty="0"/>
            </a:br>
            <a:r>
              <a:rPr lang="en-US" dirty="0"/>
              <a:t>Calculation example of the WAP logic implemented </a:t>
            </a:r>
            <a:endParaRPr lang="de-DE" dirty="0"/>
          </a:p>
        </p:txBody>
      </p:sp>
      <p:sp>
        <p:nvSpPr>
          <p:cNvPr id="30722" name="Rectangle 2"/>
          <p:cNvSpPr>
            <a:spLocks noChangeArrowheads="1"/>
          </p:cNvSpPr>
          <p:nvPr/>
        </p:nvSpPr>
        <p:spPr bwMode="auto">
          <a:xfrm>
            <a:off x="1" y="-182785"/>
            <a:ext cx="184635" cy="369140"/>
          </a:xfrm>
          <a:prstGeom prst="rect">
            <a:avLst/>
          </a:prstGeom>
          <a:noFill/>
          <a:ln w="9525">
            <a:noFill/>
            <a:miter lim="800000"/>
            <a:headEnd/>
            <a:tailEnd/>
          </a:ln>
          <a:effectLst/>
        </p:spPr>
        <p:txBody>
          <a:bodyPr vert="horz" wrap="none" lIns="91392" tIns="45696" rIns="91392" bIns="45696" numCol="1" anchor="ctr" anchorCtr="0" compatLnSpc="1">
            <a:prstTxWarp prst="textNoShape">
              <a:avLst/>
            </a:prstTxWarp>
            <a:spAutoFit/>
          </a:bodyPr>
          <a:lstStyle/>
          <a:p>
            <a:endParaRPr lang="de-DE" sz="1799"/>
          </a:p>
        </p:txBody>
      </p:sp>
      <p:pic>
        <p:nvPicPr>
          <p:cNvPr id="3" name="Picture 2">
            <a:extLst>
              <a:ext uri="{FF2B5EF4-FFF2-40B4-BE49-F238E27FC236}">
                <a16:creationId xmlns:a16="http://schemas.microsoft.com/office/drawing/2014/main" id="{B365AE4F-80E2-4A5A-A76C-7B8390B38520}"/>
              </a:ext>
            </a:extLst>
          </p:cNvPr>
          <p:cNvPicPr>
            <a:picLocks noChangeAspect="1"/>
          </p:cNvPicPr>
          <p:nvPr/>
        </p:nvPicPr>
        <p:blipFill>
          <a:blip r:embed="rId2"/>
          <a:stretch>
            <a:fillRect/>
          </a:stretch>
        </p:blipFill>
        <p:spPr>
          <a:xfrm>
            <a:off x="2281457" y="1441034"/>
            <a:ext cx="6939953" cy="4486727"/>
          </a:xfrm>
          <a:prstGeom prst="rect">
            <a:avLst/>
          </a:prstGeom>
        </p:spPr>
      </p:pic>
      <p:sp>
        <p:nvSpPr>
          <p:cNvPr id="4" name="Fußzeilenplatzhalter 3">
            <a:extLst>
              <a:ext uri="{FF2B5EF4-FFF2-40B4-BE49-F238E27FC236}">
                <a16:creationId xmlns:a16="http://schemas.microsoft.com/office/drawing/2014/main" id="{286966CE-397F-4D90-AD4E-9BCC2A57D957}"/>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772CAD17-22F2-4E2F-9E6F-95E81DA50C72}"/>
              </a:ext>
            </a:extLst>
          </p:cNvPr>
          <p:cNvSpPr>
            <a:spLocks noGrp="1"/>
          </p:cNvSpPr>
          <p:nvPr>
            <p:ph type="sldNum" sz="quarter" idx="11"/>
          </p:nvPr>
        </p:nvSpPr>
        <p:spPr/>
        <p:txBody>
          <a:bodyPr/>
          <a:lstStyle/>
          <a:p>
            <a:r>
              <a:rPr lang="en-US"/>
              <a:t>Page </a:t>
            </a:r>
            <a:fld id="{15EBE321-CBB1-4E91-BD14-37C8D44326FB}" type="slidenum">
              <a:rPr lang="en-US" smtClean="0"/>
              <a:pPr/>
              <a:t>30</a:t>
            </a:fld>
            <a:endParaRPr lang="en-US" dirty="0"/>
          </a:p>
        </p:txBody>
      </p:sp>
    </p:spTree>
    <p:extLst>
      <p:ext uri="{BB962C8B-B14F-4D97-AF65-F5344CB8AC3E}">
        <p14:creationId xmlns:p14="http://schemas.microsoft.com/office/powerpoint/2010/main" val="3141311835"/>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en-US" dirty="0"/>
              <a:t>WAP</a:t>
            </a:r>
            <a:br>
              <a:rPr lang="en-US" dirty="0"/>
            </a:br>
            <a:r>
              <a:rPr lang="en-US" dirty="0"/>
              <a:t>SICAM A8000 and SICAM SCC</a:t>
            </a:r>
            <a:endParaRPr lang="de-DE" dirty="0"/>
          </a:p>
        </p:txBody>
      </p:sp>
      <p:sp>
        <p:nvSpPr>
          <p:cNvPr id="7" name="Textfeld 6"/>
          <p:cNvSpPr txBox="1"/>
          <p:nvPr/>
        </p:nvSpPr>
        <p:spPr>
          <a:xfrm>
            <a:off x="6869885" y="1468472"/>
            <a:ext cx="5013758" cy="4741869"/>
          </a:xfrm>
          <a:prstGeom prst="rect">
            <a:avLst/>
          </a:prstGeom>
          <a:solidFill>
            <a:schemeClr val="bg1"/>
          </a:solidFill>
          <a:ln>
            <a:noFill/>
          </a:ln>
          <a:effectLst/>
        </p:spPr>
        <p:txBody>
          <a:bodyPr vert="horz" wrap="square" lIns="251869" tIns="143925" rIns="107944" bIns="143925" numCol="1" rtlCol="0" anchor="t" anchorCtr="0" compatLnSpc="1">
            <a:prstTxWarp prst="textNoShape">
              <a:avLst/>
            </a:prstTxWarp>
            <a:spAutoFit/>
          </a:bodyPr>
          <a:lstStyle>
            <a:defPPr>
              <a:defRPr lang="de-DE"/>
            </a:defPPr>
            <a:lvl1pPr marL="285750" indent="-285750">
              <a:lnSpc>
                <a:spcPct val="110000"/>
              </a:lnSpc>
              <a:spcBef>
                <a:spcPts val="800"/>
              </a:spcBef>
              <a:buClr>
                <a:schemeClr val="bg2">
                  <a:lumMod val="50000"/>
                </a:schemeClr>
              </a:buClr>
              <a:buFont typeface="Arial" panose="020B0604020202020204" pitchFamily="34" charset="0"/>
              <a:buChar char="•"/>
              <a:defRPr sz="1800" b="0">
                <a:solidFill>
                  <a:schemeClr val="tx1"/>
                </a:solidFill>
                <a:ea typeface="+mn-ea"/>
                <a:cs typeface="Arial" pitchFamily="34" charset="0"/>
              </a:defRPr>
            </a:lvl1pPr>
          </a:lstStyle>
          <a:p>
            <a:pPr>
              <a:buClr>
                <a:schemeClr val="accent5"/>
              </a:buClr>
            </a:pPr>
            <a:r>
              <a:rPr lang="de-DE" sz="1799" dirty="0"/>
              <a:t>SICAM A8000 CP-8050</a:t>
            </a:r>
          </a:p>
          <a:p>
            <a:pPr>
              <a:buClr>
                <a:schemeClr val="accent5"/>
              </a:buClr>
            </a:pPr>
            <a:r>
              <a:rPr lang="en-US" sz="1799" dirty="0"/>
              <a:t>Expandable</a:t>
            </a:r>
            <a:r>
              <a:rPr lang="fr-FR" sz="1799" dirty="0"/>
              <a:t> Ethernet communication module (CI-8520 module)</a:t>
            </a:r>
          </a:p>
          <a:p>
            <a:pPr>
              <a:buClr>
                <a:schemeClr val="accent5"/>
              </a:buClr>
            </a:pPr>
            <a:r>
              <a:rPr lang="fr-FR" sz="1799" dirty="0"/>
              <a:t>Protocol </a:t>
            </a:r>
            <a:r>
              <a:rPr lang="en-US" sz="1799" dirty="0"/>
              <a:t>IEC 60870-5-104 </a:t>
            </a:r>
          </a:p>
          <a:p>
            <a:pPr>
              <a:buClr>
                <a:schemeClr val="accent5"/>
              </a:buClr>
            </a:pPr>
            <a:r>
              <a:rPr lang="en-US" sz="1799" dirty="0"/>
              <a:t>IEC 61850 and GOOSE</a:t>
            </a:r>
          </a:p>
          <a:p>
            <a:pPr>
              <a:buClr>
                <a:schemeClr val="accent5"/>
              </a:buClr>
            </a:pPr>
            <a:r>
              <a:rPr lang="en-US" sz="1799" dirty="0"/>
              <a:t>PRP redundancy</a:t>
            </a:r>
          </a:p>
          <a:p>
            <a:pPr>
              <a:buClr>
                <a:schemeClr val="accent5"/>
              </a:buClr>
            </a:pPr>
            <a:r>
              <a:rPr lang="en-US" sz="1799" dirty="0"/>
              <a:t>Protocol conversion form IEC 60870-5-104 to  61850 and Goose</a:t>
            </a:r>
          </a:p>
          <a:p>
            <a:pPr>
              <a:buClr>
                <a:schemeClr val="accent5"/>
              </a:buClr>
            </a:pPr>
            <a:r>
              <a:rPr lang="en-US" sz="1799" dirty="0" err="1"/>
              <a:t>Sicam</a:t>
            </a:r>
            <a:r>
              <a:rPr lang="en-US" sz="1799" dirty="0"/>
              <a:t> SCC to visualize actual state of the stations involved in WAP and to enable and disable the WAP schemes</a:t>
            </a:r>
          </a:p>
          <a:p>
            <a:pPr marL="0" indent="0">
              <a:buClr>
                <a:schemeClr val="accent5"/>
              </a:buClr>
              <a:buNone/>
            </a:pPr>
            <a:endParaRPr lang="fr-FR" sz="1799" dirty="0"/>
          </a:p>
        </p:txBody>
      </p:sp>
      <p:grpSp>
        <p:nvGrpSpPr>
          <p:cNvPr id="18" name="Gruppieren 14">
            <a:extLst>
              <a:ext uri="{FF2B5EF4-FFF2-40B4-BE49-F238E27FC236}">
                <a16:creationId xmlns:a16="http://schemas.microsoft.com/office/drawing/2014/main" id="{4B17811A-175E-4AF4-AD02-B8FB9AD16DC6}"/>
              </a:ext>
            </a:extLst>
          </p:cNvPr>
          <p:cNvGrpSpPr/>
          <p:nvPr/>
        </p:nvGrpSpPr>
        <p:grpSpPr>
          <a:xfrm>
            <a:off x="2271715" y="4364643"/>
            <a:ext cx="2240891" cy="1439250"/>
            <a:chOff x="4514999" y="2276872"/>
            <a:chExt cx="2452081" cy="2655493"/>
          </a:xfrm>
        </p:grpSpPr>
        <p:pic>
          <p:nvPicPr>
            <p:cNvPr id="19" name="Grafik 5">
              <a:extLst>
                <a:ext uri="{FF2B5EF4-FFF2-40B4-BE49-F238E27FC236}">
                  <a16:creationId xmlns:a16="http://schemas.microsoft.com/office/drawing/2014/main" id="{988A4FD5-709A-4CE4-B590-D7F95E590C47}"/>
                </a:ext>
              </a:extLst>
            </p:cNvPr>
            <p:cNvPicPr>
              <a:picLocks noChangeAspect="1"/>
            </p:cNvPicPr>
            <p:nvPr/>
          </p:nvPicPr>
          <p:blipFill>
            <a:blip r:embed="rId2"/>
            <a:stretch>
              <a:fillRect/>
            </a:stretch>
          </p:blipFill>
          <p:spPr>
            <a:xfrm>
              <a:off x="4514999" y="2276872"/>
              <a:ext cx="633612" cy="2655493"/>
            </a:xfrm>
            <a:prstGeom prst="rect">
              <a:avLst/>
            </a:prstGeom>
          </p:spPr>
        </p:pic>
        <p:pic>
          <p:nvPicPr>
            <p:cNvPr id="20" name="Grafik 7">
              <a:extLst>
                <a:ext uri="{FF2B5EF4-FFF2-40B4-BE49-F238E27FC236}">
                  <a16:creationId xmlns:a16="http://schemas.microsoft.com/office/drawing/2014/main" id="{E21C5A51-65AA-4C1F-8F6D-90B94A28049D}"/>
                </a:ext>
              </a:extLst>
            </p:cNvPr>
            <p:cNvPicPr>
              <a:picLocks noChangeAspect="1"/>
            </p:cNvPicPr>
            <p:nvPr/>
          </p:nvPicPr>
          <p:blipFill>
            <a:blip r:embed="rId3"/>
            <a:stretch>
              <a:fillRect/>
            </a:stretch>
          </p:blipFill>
          <p:spPr>
            <a:xfrm>
              <a:off x="5019055" y="2276873"/>
              <a:ext cx="633612" cy="2655492"/>
            </a:xfrm>
            <a:prstGeom prst="rect">
              <a:avLst/>
            </a:prstGeom>
          </p:spPr>
        </p:pic>
        <p:pic>
          <p:nvPicPr>
            <p:cNvPr id="21" name="Grafik 9">
              <a:extLst>
                <a:ext uri="{FF2B5EF4-FFF2-40B4-BE49-F238E27FC236}">
                  <a16:creationId xmlns:a16="http://schemas.microsoft.com/office/drawing/2014/main" id="{AFA369B7-6F32-4DBB-9143-AB71EBF5547C}"/>
                </a:ext>
              </a:extLst>
            </p:cNvPr>
            <p:cNvPicPr>
              <a:picLocks noChangeAspect="1"/>
            </p:cNvPicPr>
            <p:nvPr/>
          </p:nvPicPr>
          <p:blipFill>
            <a:blip r:embed="rId4"/>
            <a:stretch>
              <a:fillRect/>
            </a:stretch>
          </p:blipFill>
          <p:spPr>
            <a:xfrm>
              <a:off x="5559115" y="2276873"/>
              <a:ext cx="482512" cy="2655492"/>
            </a:xfrm>
            <a:prstGeom prst="rect">
              <a:avLst/>
            </a:prstGeom>
          </p:spPr>
        </p:pic>
        <p:pic>
          <p:nvPicPr>
            <p:cNvPr id="22" name="Grafik 11">
              <a:extLst>
                <a:ext uri="{FF2B5EF4-FFF2-40B4-BE49-F238E27FC236}">
                  <a16:creationId xmlns:a16="http://schemas.microsoft.com/office/drawing/2014/main" id="{E58B4271-908D-4030-8223-FF3F2B1B8514}"/>
                </a:ext>
              </a:extLst>
            </p:cNvPr>
            <p:cNvPicPr>
              <a:picLocks noChangeAspect="1"/>
            </p:cNvPicPr>
            <p:nvPr/>
          </p:nvPicPr>
          <p:blipFill>
            <a:blip r:embed="rId5"/>
            <a:stretch>
              <a:fillRect/>
            </a:stretch>
          </p:blipFill>
          <p:spPr>
            <a:xfrm>
              <a:off x="5940993" y="2276872"/>
              <a:ext cx="604692" cy="2655493"/>
            </a:xfrm>
            <a:prstGeom prst="rect">
              <a:avLst/>
            </a:prstGeom>
          </p:spPr>
        </p:pic>
        <p:pic>
          <p:nvPicPr>
            <p:cNvPr id="23" name="Grafik 13">
              <a:extLst>
                <a:ext uri="{FF2B5EF4-FFF2-40B4-BE49-F238E27FC236}">
                  <a16:creationId xmlns:a16="http://schemas.microsoft.com/office/drawing/2014/main" id="{09648B6B-F2F9-44B7-9189-BE9CF8E55137}"/>
                </a:ext>
              </a:extLst>
            </p:cNvPr>
            <p:cNvPicPr>
              <a:picLocks noChangeAspect="1"/>
            </p:cNvPicPr>
            <p:nvPr/>
          </p:nvPicPr>
          <p:blipFill>
            <a:blip r:embed="rId6"/>
            <a:stretch>
              <a:fillRect/>
            </a:stretch>
          </p:blipFill>
          <p:spPr>
            <a:xfrm>
              <a:off x="6452131" y="2281409"/>
              <a:ext cx="514949" cy="2650956"/>
            </a:xfrm>
            <a:prstGeom prst="rect">
              <a:avLst/>
            </a:prstGeom>
          </p:spPr>
        </p:pic>
      </p:grpSp>
      <p:pic>
        <p:nvPicPr>
          <p:cNvPr id="5" name="Picture 4">
            <a:extLst>
              <a:ext uri="{FF2B5EF4-FFF2-40B4-BE49-F238E27FC236}">
                <a16:creationId xmlns:a16="http://schemas.microsoft.com/office/drawing/2014/main" id="{4E00B654-4589-4DB1-9D57-FAB680100BBD}"/>
              </a:ext>
            </a:extLst>
          </p:cNvPr>
          <p:cNvPicPr>
            <a:picLocks noChangeAspect="1"/>
          </p:cNvPicPr>
          <p:nvPr/>
        </p:nvPicPr>
        <p:blipFill>
          <a:blip r:embed="rId7"/>
          <a:stretch>
            <a:fillRect/>
          </a:stretch>
        </p:blipFill>
        <p:spPr>
          <a:xfrm>
            <a:off x="267750" y="1824884"/>
            <a:ext cx="3307142" cy="1271378"/>
          </a:xfrm>
          <a:prstGeom prst="rect">
            <a:avLst/>
          </a:prstGeom>
        </p:spPr>
      </p:pic>
      <p:pic>
        <p:nvPicPr>
          <p:cNvPr id="9" name="Picture 8">
            <a:extLst>
              <a:ext uri="{FF2B5EF4-FFF2-40B4-BE49-F238E27FC236}">
                <a16:creationId xmlns:a16="http://schemas.microsoft.com/office/drawing/2014/main" id="{D198E669-6E96-4FEA-B6CF-F72AA90FC868}"/>
              </a:ext>
            </a:extLst>
          </p:cNvPr>
          <p:cNvPicPr>
            <a:picLocks noChangeAspect="1"/>
          </p:cNvPicPr>
          <p:nvPr/>
        </p:nvPicPr>
        <p:blipFill>
          <a:blip r:embed="rId8"/>
          <a:stretch>
            <a:fillRect/>
          </a:stretch>
        </p:blipFill>
        <p:spPr>
          <a:xfrm>
            <a:off x="3700465" y="1824885"/>
            <a:ext cx="3285709" cy="1273600"/>
          </a:xfrm>
          <a:prstGeom prst="rect">
            <a:avLst/>
          </a:prstGeom>
        </p:spPr>
      </p:pic>
      <p:sp>
        <p:nvSpPr>
          <p:cNvPr id="2" name="Fußzeilenplatzhalter 1">
            <a:extLst>
              <a:ext uri="{FF2B5EF4-FFF2-40B4-BE49-F238E27FC236}">
                <a16:creationId xmlns:a16="http://schemas.microsoft.com/office/drawing/2014/main" id="{F3067380-FB98-4CB3-B177-2961C83132C5}"/>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3" name="Foliennummernplatzhalter 2">
            <a:extLst>
              <a:ext uri="{FF2B5EF4-FFF2-40B4-BE49-F238E27FC236}">
                <a16:creationId xmlns:a16="http://schemas.microsoft.com/office/drawing/2014/main" id="{7D379200-6886-4A37-99E9-191D2106507B}"/>
              </a:ext>
            </a:extLst>
          </p:cNvPr>
          <p:cNvSpPr>
            <a:spLocks noGrp="1"/>
          </p:cNvSpPr>
          <p:nvPr>
            <p:ph type="sldNum" sz="quarter" idx="11"/>
          </p:nvPr>
        </p:nvSpPr>
        <p:spPr/>
        <p:txBody>
          <a:bodyPr/>
          <a:lstStyle/>
          <a:p>
            <a:r>
              <a:rPr lang="en-US"/>
              <a:t>Page </a:t>
            </a:r>
            <a:fld id="{15EBE321-CBB1-4E91-BD14-37C8D44326FB}" type="slidenum">
              <a:rPr lang="en-US" smtClean="0"/>
              <a:pPr/>
              <a:t>31</a:t>
            </a:fld>
            <a:endParaRPr lang="en-US" dirty="0"/>
          </a:p>
        </p:txBody>
      </p:sp>
    </p:spTree>
    <p:extLst>
      <p:ext uri="{BB962C8B-B14F-4D97-AF65-F5344CB8AC3E}">
        <p14:creationId xmlns:p14="http://schemas.microsoft.com/office/powerpoint/2010/main" val="426678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Line 413"/>
          <p:cNvSpPr>
            <a:spLocks noChangeShapeType="1"/>
          </p:cNvSpPr>
          <p:nvPr/>
        </p:nvSpPr>
        <p:spPr bwMode="auto">
          <a:xfrm>
            <a:off x="5085832" y="-1546884"/>
            <a:ext cx="44404" cy="0"/>
          </a:xfrm>
          <a:prstGeom prst="line">
            <a:avLst/>
          </a:prstGeom>
          <a:noFill/>
          <a:ln w="9525">
            <a:solidFill>
              <a:schemeClr val="tx1"/>
            </a:solidFill>
            <a:round/>
            <a:headEnd/>
            <a:tailEnd/>
          </a:ln>
        </p:spPr>
        <p:txBody>
          <a:bodyPr lIns="107888" tIns="53944" rIns="107888" bIns="53944" anchor="ctr">
            <a:spAutoFit/>
          </a:bodyPr>
          <a:lstStyle/>
          <a:p>
            <a:endParaRPr lang="en-US" sz="1798"/>
          </a:p>
        </p:txBody>
      </p:sp>
      <p:sp>
        <p:nvSpPr>
          <p:cNvPr id="3" name="Title 2">
            <a:extLst>
              <a:ext uri="{FF2B5EF4-FFF2-40B4-BE49-F238E27FC236}">
                <a16:creationId xmlns:a16="http://schemas.microsoft.com/office/drawing/2014/main" id="{C5F6EF37-17AE-4455-A426-9D0606132B4A}"/>
              </a:ext>
            </a:extLst>
          </p:cNvPr>
          <p:cNvSpPr>
            <a:spLocks noGrp="1"/>
          </p:cNvSpPr>
          <p:nvPr>
            <p:ph type="title"/>
          </p:nvPr>
        </p:nvSpPr>
        <p:spPr/>
        <p:txBody>
          <a:bodyPr/>
          <a:lstStyle/>
          <a:p>
            <a:r>
              <a:rPr lang="de-DE" dirty="0"/>
              <a:t>Wide Area </a:t>
            </a:r>
            <a:r>
              <a:rPr lang="de-DE" dirty="0" err="1"/>
              <a:t>protection</a:t>
            </a:r>
            <a:r>
              <a:rPr lang="de-DE" dirty="0"/>
              <a:t> </a:t>
            </a:r>
            <a:r>
              <a:rPr lang="de-DE" dirty="0" err="1"/>
              <a:t>with</a:t>
            </a:r>
            <a:r>
              <a:rPr lang="de-DE" dirty="0"/>
              <a:t> </a:t>
            </a:r>
            <a:r>
              <a:rPr lang="de-DE" dirty="0" err="1"/>
              <a:t>redundancy</a:t>
            </a:r>
            <a:endParaRPr lang="en-US" dirty="0"/>
          </a:p>
        </p:txBody>
      </p:sp>
      <p:pic>
        <p:nvPicPr>
          <p:cNvPr id="9" name="Picture 8">
            <a:extLst>
              <a:ext uri="{FF2B5EF4-FFF2-40B4-BE49-F238E27FC236}">
                <a16:creationId xmlns:a16="http://schemas.microsoft.com/office/drawing/2014/main" id="{BF29BF35-D6C4-44A6-A5DC-0230BC96ACAE}"/>
              </a:ext>
            </a:extLst>
          </p:cNvPr>
          <p:cNvPicPr>
            <a:picLocks noChangeAspect="1"/>
          </p:cNvPicPr>
          <p:nvPr/>
        </p:nvPicPr>
        <p:blipFill>
          <a:blip r:embed="rId4"/>
          <a:stretch>
            <a:fillRect/>
          </a:stretch>
        </p:blipFill>
        <p:spPr>
          <a:xfrm>
            <a:off x="5954226" y="1490225"/>
            <a:ext cx="5648490" cy="4589802"/>
          </a:xfrm>
          <a:prstGeom prst="rect">
            <a:avLst/>
          </a:prstGeom>
        </p:spPr>
      </p:pic>
      <p:sp>
        <p:nvSpPr>
          <p:cNvPr id="201" name="Textfeld 1">
            <a:extLst>
              <a:ext uri="{FF2B5EF4-FFF2-40B4-BE49-F238E27FC236}">
                <a16:creationId xmlns:a16="http://schemas.microsoft.com/office/drawing/2014/main" id="{A4FC7182-9405-4BAD-973E-38B7F8FAC951}"/>
              </a:ext>
            </a:extLst>
          </p:cNvPr>
          <p:cNvSpPr txBox="1"/>
          <p:nvPr>
            <p:custDataLst>
              <p:tags r:id="rId1"/>
            </p:custDataLst>
          </p:nvPr>
        </p:nvSpPr>
        <p:spPr>
          <a:xfrm>
            <a:off x="403850" y="1441035"/>
            <a:ext cx="5550376" cy="5415180"/>
          </a:xfrm>
          <a:prstGeom prst="rect">
            <a:avLst/>
          </a:prstGeom>
          <a:noFill/>
        </p:spPr>
        <p:txBody>
          <a:bodyPr wrap="square" lIns="0" tIns="0" rIns="0" bIns="0" rtlCol="0" anchor="t">
            <a:noAutofit/>
          </a:bodyPr>
          <a:lstStyle>
            <a:lvl1pPr marL="179388" indent="-180000" algn="l" rtl="0" eaLnBrk="1" fontAlgn="base" hangingPunct="1">
              <a:buClr>
                <a:srgbClr val="879BAA"/>
              </a:buClr>
              <a:buChar char="•"/>
            </a:lvl1pPr>
            <a:lvl2pPr marL="179388" indent="-180000" algn="l" rtl="0" eaLnBrk="1" fontAlgn="base" hangingPunct="1">
              <a:buClr>
                <a:srgbClr val="879BAA"/>
              </a:buClr>
              <a:buChar char="•"/>
            </a:lvl2pPr>
            <a:lvl3pPr marL="358775" indent="-180000" algn="l" rtl="0" eaLnBrk="1" fontAlgn="base" hangingPunct="1">
              <a:buClr>
                <a:srgbClr val="879BAA"/>
              </a:buClr>
              <a:buChar char="•"/>
            </a:lvl3pPr>
            <a:lvl4pPr marL="538163" indent="-180000" algn="l" rtl="0" eaLnBrk="1" fontAlgn="base" hangingPunct="1">
              <a:buClr>
                <a:srgbClr val="879BAA"/>
              </a:buClr>
              <a:buChar char="•"/>
            </a:lvl4pPr>
            <a:lvl5pPr marL="720000" indent="-180000" algn="l" rtl="0" eaLnBrk="1" fontAlgn="base" hangingPunct="1">
              <a:buClr>
                <a:srgbClr val="879BAA"/>
              </a:buClr>
              <a:buChar char="•"/>
            </a:lvl5pPr>
          </a:lstStyle>
          <a:p>
            <a:pPr>
              <a:lnSpc>
                <a:spcPct val="110000"/>
              </a:lnSpc>
              <a:spcAft>
                <a:spcPts val="1199"/>
              </a:spcAft>
            </a:pPr>
            <a:r>
              <a:rPr lang="en-US" sz="1799" dirty="0">
                <a:ea typeface="Arial Unicode MS"/>
                <a:cs typeface="Arial Unicode MS"/>
              </a:rPr>
              <a:t>Double calculation engine to grant the redundancy with SIGAURD PDP</a:t>
            </a:r>
          </a:p>
          <a:p>
            <a:pPr>
              <a:lnSpc>
                <a:spcPct val="110000"/>
              </a:lnSpc>
              <a:spcAft>
                <a:spcPts val="1199"/>
              </a:spcAft>
            </a:pPr>
            <a:r>
              <a:rPr lang="en-US" sz="1799" dirty="0">
                <a:ea typeface="Arial Unicode MS"/>
                <a:cs typeface="Arial"/>
              </a:rPr>
              <a:t>Double PMU in station level to collect the measurements with SIPROTEC 7SJ85 and to generate the trip command</a:t>
            </a:r>
          </a:p>
          <a:p>
            <a:pPr>
              <a:lnSpc>
                <a:spcPct val="110000"/>
              </a:lnSpc>
              <a:spcAft>
                <a:spcPts val="1199"/>
              </a:spcAft>
            </a:pPr>
            <a:r>
              <a:rPr lang="en-US" sz="1799" dirty="0">
                <a:ea typeface="Arial Unicode MS"/>
                <a:cs typeface="Arial"/>
              </a:rPr>
              <a:t>MPLS Network to transmit the GOOSE command to achieve tripping times  less than 200 </a:t>
            </a:r>
            <a:r>
              <a:rPr lang="en-US" sz="1799" dirty="0" err="1">
                <a:ea typeface="Arial Unicode MS"/>
                <a:cs typeface="Arial"/>
              </a:rPr>
              <a:t>ms</a:t>
            </a:r>
            <a:r>
              <a:rPr lang="en-US" sz="1799" dirty="0">
                <a:ea typeface="Arial Unicode MS"/>
                <a:cs typeface="Arial"/>
              </a:rPr>
              <a:t> over the WAN</a:t>
            </a:r>
          </a:p>
          <a:p>
            <a:pPr>
              <a:lnSpc>
                <a:spcPct val="110000"/>
              </a:lnSpc>
              <a:spcAft>
                <a:spcPts val="1199"/>
              </a:spcAft>
            </a:pPr>
            <a:r>
              <a:rPr lang="en-US" sz="1799" dirty="0">
                <a:ea typeface="Arial Unicode MS"/>
                <a:cs typeface="Arial"/>
              </a:rPr>
              <a:t>SICAM SCC to control and monitor the Wide Area Protection system</a:t>
            </a:r>
          </a:p>
          <a:p>
            <a:pPr>
              <a:lnSpc>
                <a:spcPct val="150000"/>
              </a:lnSpc>
              <a:buNone/>
            </a:pPr>
            <a:endParaRPr lang="en-US" sz="1799" dirty="0">
              <a:ea typeface="Arial Unicode MS"/>
              <a:cs typeface="Arial Unicode MS"/>
            </a:endParaRPr>
          </a:p>
        </p:txBody>
      </p:sp>
      <p:sp>
        <p:nvSpPr>
          <p:cNvPr id="2" name="Fußzeilenplatzhalter 1">
            <a:extLst>
              <a:ext uri="{FF2B5EF4-FFF2-40B4-BE49-F238E27FC236}">
                <a16:creationId xmlns:a16="http://schemas.microsoft.com/office/drawing/2014/main" id="{F6CCE0F9-AEFC-4980-B9AC-F4868F09D5FD}"/>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4" name="Foliennummernplatzhalter 3">
            <a:extLst>
              <a:ext uri="{FF2B5EF4-FFF2-40B4-BE49-F238E27FC236}">
                <a16:creationId xmlns:a16="http://schemas.microsoft.com/office/drawing/2014/main" id="{B3E9557F-4FFA-443B-BD58-6BA3F4112EA2}"/>
              </a:ext>
            </a:extLst>
          </p:cNvPr>
          <p:cNvSpPr>
            <a:spLocks noGrp="1"/>
          </p:cNvSpPr>
          <p:nvPr>
            <p:ph type="sldNum" sz="quarter" idx="11"/>
          </p:nvPr>
        </p:nvSpPr>
        <p:spPr/>
        <p:txBody>
          <a:bodyPr/>
          <a:lstStyle/>
          <a:p>
            <a:r>
              <a:rPr lang="en-US"/>
              <a:t>Page </a:t>
            </a:r>
            <a:fld id="{15EBE321-CBB1-4E91-BD14-37C8D44326FB}" type="slidenum">
              <a:rPr lang="en-US" smtClean="0"/>
              <a:pPr/>
              <a:t>32</a:t>
            </a:fld>
            <a:endParaRPr lang="en-US" dirty="0"/>
          </a:p>
        </p:txBody>
      </p:sp>
    </p:spTree>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Line 413"/>
          <p:cNvSpPr>
            <a:spLocks noChangeShapeType="1"/>
          </p:cNvSpPr>
          <p:nvPr/>
        </p:nvSpPr>
        <p:spPr bwMode="auto">
          <a:xfrm>
            <a:off x="5085832" y="-1546884"/>
            <a:ext cx="44404" cy="0"/>
          </a:xfrm>
          <a:prstGeom prst="line">
            <a:avLst/>
          </a:prstGeom>
          <a:noFill/>
          <a:ln w="9525">
            <a:solidFill>
              <a:schemeClr val="tx1"/>
            </a:solidFill>
            <a:round/>
            <a:headEnd/>
            <a:tailEnd/>
          </a:ln>
        </p:spPr>
        <p:txBody>
          <a:bodyPr lIns="107888" tIns="53944" rIns="107888" bIns="53944" anchor="ctr">
            <a:spAutoFit/>
          </a:bodyPr>
          <a:lstStyle/>
          <a:p>
            <a:endParaRPr lang="en-US" sz="1798"/>
          </a:p>
        </p:txBody>
      </p:sp>
      <p:sp>
        <p:nvSpPr>
          <p:cNvPr id="3" name="Title 2">
            <a:extLst>
              <a:ext uri="{FF2B5EF4-FFF2-40B4-BE49-F238E27FC236}">
                <a16:creationId xmlns:a16="http://schemas.microsoft.com/office/drawing/2014/main" id="{C5F6EF37-17AE-4455-A426-9D0606132B4A}"/>
              </a:ext>
            </a:extLst>
          </p:cNvPr>
          <p:cNvSpPr>
            <a:spLocks noGrp="1"/>
          </p:cNvSpPr>
          <p:nvPr>
            <p:ph type="title"/>
          </p:nvPr>
        </p:nvSpPr>
        <p:spPr/>
        <p:txBody>
          <a:bodyPr/>
          <a:lstStyle/>
          <a:p>
            <a:r>
              <a:rPr lang="de-DE" dirty="0">
                <a:solidFill>
                  <a:srgbClr val="00646E"/>
                </a:solidFill>
              </a:rPr>
              <a:t>System Test</a:t>
            </a:r>
            <a:endParaRPr lang="en-US" dirty="0">
              <a:solidFill>
                <a:srgbClr val="00646E"/>
              </a:solidFill>
            </a:endParaRPr>
          </a:p>
        </p:txBody>
      </p:sp>
      <p:sp>
        <p:nvSpPr>
          <p:cNvPr id="201" name="Textfeld 1">
            <a:extLst>
              <a:ext uri="{FF2B5EF4-FFF2-40B4-BE49-F238E27FC236}">
                <a16:creationId xmlns:a16="http://schemas.microsoft.com/office/drawing/2014/main" id="{A4FC7182-9405-4BAD-973E-38B7F8FAC951}"/>
              </a:ext>
            </a:extLst>
          </p:cNvPr>
          <p:cNvSpPr txBox="1"/>
          <p:nvPr>
            <p:custDataLst>
              <p:tags r:id="rId1"/>
            </p:custDataLst>
          </p:nvPr>
        </p:nvSpPr>
        <p:spPr>
          <a:xfrm>
            <a:off x="393966" y="1441036"/>
            <a:ext cx="3578632" cy="3653972"/>
          </a:xfrm>
          <a:prstGeom prst="rect">
            <a:avLst/>
          </a:prstGeom>
          <a:noFill/>
        </p:spPr>
        <p:txBody>
          <a:bodyPr wrap="square" lIns="0" tIns="0" rIns="0" bIns="0" rtlCol="0" anchor="t">
            <a:noAutofit/>
          </a:bodyPr>
          <a:lstStyle>
            <a:lvl1pPr marL="179388" indent="-180000" algn="l" rtl="0" eaLnBrk="1" fontAlgn="base" hangingPunct="1">
              <a:buClr>
                <a:srgbClr val="879BAA"/>
              </a:buClr>
              <a:buChar char="•"/>
            </a:lvl1pPr>
            <a:lvl2pPr marL="179388" indent="-180000" algn="l" rtl="0" eaLnBrk="1" fontAlgn="base" hangingPunct="1">
              <a:buClr>
                <a:srgbClr val="879BAA"/>
              </a:buClr>
              <a:buChar char="•"/>
            </a:lvl2pPr>
            <a:lvl3pPr marL="358775" indent="-180000" algn="l" rtl="0" eaLnBrk="1" fontAlgn="base" hangingPunct="1">
              <a:buClr>
                <a:srgbClr val="879BAA"/>
              </a:buClr>
              <a:buChar char="•"/>
            </a:lvl3pPr>
            <a:lvl4pPr marL="538163" indent="-180000" algn="l" rtl="0" eaLnBrk="1" fontAlgn="base" hangingPunct="1">
              <a:buClr>
                <a:srgbClr val="879BAA"/>
              </a:buClr>
              <a:buChar char="•"/>
            </a:lvl4pPr>
            <a:lvl5pPr marL="720000" indent="-180000" algn="l" rtl="0" eaLnBrk="1" fontAlgn="base" hangingPunct="1">
              <a:buClr>
                <a:srgbClr val="879BAA"/>
              </a:buClr>
              <a:buChar char="•"/>
            </a:lvl5pPr>
          </a:lstStyle>
          <a:p>
            <a:pPr>
              <a:lnSpc>
                <a:spcPct val="110000"/>
              </a:lnSpc>
              <a:spcAft>
                <a:spcPts val="1199"/>
              </a:spcAft>
              <a:buFont typeface="Arial" panose="020B0604020202020204" pitchFamily="34" charset="0"/>
              <a:buChar char="•"/>
            </a:pPr>
            <a:endParaRPr lang="en-US" sz="1799" dirty="0">
              <a:ea typeface="Arial Unicode MS"/>
              <a:cs typeface="Arial"/>
            </a:endParaRPr>
          </a:p>
          <a:p>
            <a:pPr>
              <a:lnSpc>
                <a:spcPct val="110000"/>
              </a:lnSpc>
              <a:spcAft>
                <a:spcPts val="1199"/>
              </a:spcAft>
              <a:buFont typeface="Arial" panose="020B0604020202020204" pitchFamily="34" charset="0"/>
              <a:buChar char="•"/>
            </a:pPr>
            <a:endParaRPr lang="en-US" sz="1799" dirty="0">
              <a:ea typeface="Arial Unicode MS"/>
              <a:cs typeface="Arial"/>
            </a:endParaRPr>
          </a:p>
          <a:p>
            <a:pPr>
              <a:lnSpc>
                <a:spcPct val="150000"/>
              </a:lnSpc>
            </a:pPr>
            <a:endParaRPr lang="en-US" sz="1799" dirty="0"/>
          </a:p>
          <a:p>
            <a:pPr>
              <a:lnSpc>
                <a:spcPct val="150000"/>
              </a:lnSpc>
              <a:buNone/>
            </a:pPr>
            <a:endParaRPr lang="en-US" sz="1599" dirty="0">
              <a:ea typeface="Arial Unicode MS"/>
              <a:cs typeface="Arial Unicode MS"/>
            </a:endParaRPr>
          </a:p>
        </p:txBody>
      </p:sp>
      <p:pic>
        <p:nvPicPr>
          <p:cNvPr id="2" name="Picture 1">
            <a:extLst>
              <a:ext uri="{FF2B5EF4-FFF2-40B4-BE49-F238E27FC236}">
                <a16:creationId xmlns:a16="http://schemas.microsoft.com/office/drawing/2014/main" id="{B1BA17A6-F8AD-4355-978E-7DCD1E5838B0}"/>
              </a:ext>
            </a:extLst>
          </p:cNvPr>
          <p:cNvPicPr>
            <a:picLocks noChangeAspect="1"/>
          </p:cNvPicPr>
          <p:nvPr/>
        </p:nvPicPr>
        <p:blipFill>
          <a:blip r:embed="rId4"/>
          <a:stretch>
            <a:fillRect/>
          </a:stretch>
        </p:blipFill>
        <p:spPr>
          <a:xfrm>
            <a:off x="2333921" y="1850056"/>
            <a:ext cx="8118743" cy="3852848"/>
          </a:xfrm>
          <a:prstGeom prst="rect">
            <a:avLst/>
          </a:prstGeom>
        </p:spPr>
      </p:pic>
      <p:sp>
        <p:nvSpPr>
          <p:cNvPr id="4" name="Fußzeilenplatzhalter 3">
            <a:extLst>
              <a:ext uri="{FF2B5EF4-FFF2-40B4-BE49-F238E27FC236}">
                <a16:creationId xmlns:a16="http://schemas.microsoft.com/office/drawing/2014/main" id="{FBAAC4A3-6363-4D4C-B6B3-F07D8D4A8515}"/>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5EC1CF78-523D-4470-A5AF-86DF98B9FFF0}"/>
              </a:ext>
            </a:extLst>
          </p:cNvPr>
          <p:cNvSpPr>
            <a:spLocks noGrp="1"/>
          </p:cNvSpPr>
          <p:nvPr>
            <p:ph type="sldNum" sz="quarter" idx="11"/>
          </p:nvPr>
        </p:nvSpPr>
        <p:spPr/>
        <p:txBody>
          <a:bodyPr/>
          <a:lstStyle/>
          <a:p>
            <a:r>
              <a:rPr lang="en-US"/>
              <a:t>Page </a:t>
            </a:r>
            <a:fld id="{15EBE321-CBB1-4E91-BD14-37C8D44326FB}" type="slidenum">
              <a:rPr lang="en-US" smtClean="0"/>
              <a:pPr/>
              <a:t>33</a:t>
            </a:fld>
            <a:endParaRPr lang="en-US" dirty="0"/>
          </a:p>
        </p:txBody>
      </p:sp>
    </p:spTree>
    <p:extLst>
      <p:ext uri="{BB962C8B-B14F-4D97-AF65-F5344CB8AC3E}">
        <p14:creationId xmlns:p14="http://schemas.microsoft.com/office/powerpoint/2010/main" val="3797026045"/>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C9CEF81D-3B55-47E5-94B9-C519906E5A08}"/>
              </a:ext>
            </a:extLst>
          </p:cNvPr>
          <p:cNvSpPr>
            <a:spLocks noGrp="1"/>
          </p:cNvSpPr>
          <p:nvPr>
            <p:ph type="title"/>
          </p:nvPr>
        </p:nvSpPr>
        <p:spPr/>
        <p:txBody>
          <a:bodyPr/>
          <a:lstStyle/>
          <a:p>
            <a:r>
              <a:rPr lang="en-US" dirty="0"/>
              <a:t>Disclaimer</a:t>
            </a:r>
          </a:p>
        </p:txBody>
      </p:sp>
      <p:sp>
        <p:nvSpPr>
          <p:cNvPr id="3" name="Content Placeholder">
            <a:extLst>
              <a:ext uri="{FF2B5EF4-FFF2-40B4-BE49-F238E27FC236}">
                <a16:creationId xmlns:a16="http://schemas.microsoft.com/office/drawing/2014/main" id="{536CB846-BF47-4D54-AA64-A816E2B1BA57}"/>
              </a:ext>
            </a:extLst>
          </p:cNvPr>
          <p:cNvSpPr>
            <a:spLocks noGrp="1"/>
          </p:cNvSpPr>
          <p:nvPr>
            <p:ph idx="1"/>
          </p:nvPr>
        </p:nvSpPr>
        <p:spPr>
          <a:xfrm>
            <a:off x="411162" y="1414800"/>
            <a:ext cx="9863235" cy="4752000"/>
          </a:xfrm>
        </p:spPr>
        <p:txBody>
          <a:bodyPr/>
          <a:lstStyle/>
          <a:p>
            <a:r>
              <a:rPr lang="en-US" dirty="0"/>
              <a:t>© Siemens 2021</a:t>
            </a:r>
          </a:p>
          <a:p>
            <a:endParaRPr lang="en-US" dirty="0"/>
          </a:p>
          <a:p>
            <a:r>
              <a:rPr lang="en-US" dirty="0"/>
              <a:t>Subject to changes and errors. The information given in this document only contains general descriptions and/or performance features which may not always specifically reflect those described, or which may undergo modification in the course of further development of the products. The requested performance features are binding only when they are expressly agreed upon in the concluded contract.</a:t>
            </a:r>
          </a:p>
          <a:p>
            <a:endParaRPr lang="en-US" dirty="0"/>
          </a:p>
          <a:p>
            <a:r>
              <a:rPr lang="en-US" dirty="0"/>
              <a:t>All product designations may be trademarks or other rights of </a:t>
            </a:r>
            <a:br>
              <a:rPr lang="en-US" dirty="0"/>
            </a:br>
            <a:r>
              <a:rPr lang="en-US" dirty="0"/>
              <a:t>Siemens AG, its affiliated companies or other companies whose use by third parties for their own purposes could violate the rights of the respective owner.</a:t>
            </a:r>
          </a:p>
        </p:txBody>
      </p:sp>
      <p:sp>
        <p:nvSpPr>
          <p:cNvPr id="4" name="Footer Placeholder">
            <a:extLst>
              <a:ext uri="{FF2B5EF4-FFF2-40B4-BE49-F238E27FC236}">
                <a16:creationId xmlns:a16="http://schemas.microsoft.com/office/drawing/2014/main" id="{AD6006ED-C279-47ED-B706-5853C56262D3}"/>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0FE0DE72-561C-4FBC-B46B-EC21C104D0C1}"/>
              </a:ext>
            </a:extLst>
          </p:cNvPr>
          <p:cNvSpPr>
            <a:spLocks noGrp="1"/>
          </p:cNvSpPr>
          <p:nvPr>
            <p:ph type="sldNum" sz="quarter" idx="11"/>
          </p:nvPr>
        </p:nvSpPr>
        <p:spPr/>
        <p:txBody>
          <a:bodyPr/>
          <a:lstStyle/>
          <a:p>
            <a:r>
              <a:rPr lang="en-US"/>
              <a:t>Page </a:t>
            </a:r>
            <a:fld id="{15EBE321-CBB1-4E91-BD14-37C8D44326FB}" type="slidenum">
              <a:rPr lang="en-US" smtClean="0"/>
              <a:pPr/>
              <a:t>34</a:t>
            </a:fld>
            <a:endParaRPr lang="en-US" dirty="0"/>
          </a:p>
        </p:txBody>
      </p:sp>
    </p:spTree>
    <p:extLst>
      <p:ext uri="{BB962C8B-B14F-4D97-AF65-F5344CB8AC3E}">
        <p14:creationId xmlns:p14="http://schemas.microsoft.com/office/powerpoint/2010/main" val="24352041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EF7BA6B8-2D49-49EE-AA38-401584ACB3E0}"/>
              </a:ext>
            </a:extLst>
          </p:cNvPr>
          <p:cNvSpPr>
            <a:spLocks noGrp="1"/>
          </p:cNvSpPr>
          <p:nvPr>
            <p:ph type="title"/>
          </p:nvPr>
        </p:nvSpPr>
        <p:spPr/>
        <p:txBody>
          <a:bodyPr/>
          <a:lstStyle/>
          <a:p>
            <a:r>
              <a:rPr lang="en-US" dirty="0"/>
              <a:t>Contact</a:t>
            </a:r>
          </a:p>
        </p:txBody>
      </p:sp>
      <p:sp>
        <p:nvSpPr>
          <p:cNvPr id="3" name="Subtitle">
            <a:extLst>
              <a:ext uri="{FF2B5EF4-FFF2-40B4-BE49-F238E27FC236}">
                <a16:creationId xmlns:a16="http://schemas.microsoft.com/office/drawing/2014/main" id="{A8C0B1B3-7902-4A0F-A274-1F5878B8197A}"/>
              </a:ext>
            </a:extLst>
          </p:cNvPr>
          <p:cNvSpPr>
            <a:spLocks noGrp="1"/>
          </p:cNvSpPr>
          <p:nvPr>
            <p:ph type="subTitle" idx="1"/>
          </p:nvPr>
        </p:nvSpPr>
        <p:spPr>
          <a:xfrm>
            <a:off x="1058400" y="2397324"/>
            <a:ext cx="4498875" cy="3409751"/>
          </a:xfrm>
        </p:spPr>
        <p:txBody>
          <a:bodyPr/>
          <a:lstStyle/>
          <a:p>
            <a:r>
              <a:rPr lang="en-US" dirty="0"/>
              <a:t>Published by Siemens AG</a:t>
            </a:r>
          </a:p>
          <a:p>
            <a:pPr lvl="1"/>
            <a:r>
              <a:rPr lang="en-US" dirty="0"/>
              <a:t>Dr. Andreas Litzinger</a:t>
            </a:r>
          </a:p>
          <a:p>
            <a:r>
              <a:rPr lang="en-US" dirty="0"/>
              <a:t>Senior Key Expert “Wide Area and Grid Measurements”</a:t>
            </a:r>
          </a:p>
          <a:p>
            <a:r>
              <a:rPr lang="en-US" dirty="0"/>
              <a:t>Product Owner SIGUARD PDP</a:t>
            </a:r>
            <a:br>
              <a:rPr lang="en-US" dirty="0"/>
            </a:br>
            <a:endParaRPr lang="en-US" dirty="0"/>
          </a:p>
          <a:p>
            <a:r>
              <a:rPr lang="en-US" dirty="0"/>
              <a:t>SI DG EA-P&amp;R DE-HP </a:t>
            </a:r>
          </a:p>
          <a:p>
            <a:r>
              <a:rPr lang="en-US" dirty="0" err="1"/>
              <a:t>Humboldtstr</a:t>
            </a:r>
            <a:r>
              <a:rPr lang="en-US" dirty="0"/>
              <a:t>. 59</a:t>
            </a:r>
            <a:br>
              <a:rPr lang="en-US" dirty="0"/>
            </a:br>
            <a:r>
              <a:rPr lang="en-US" dirty="0"/>
              <a:t>90765 </a:t>
            </a:r>
            <a:r>
              <a:rPr lang="en-US" dirty="0" err="1"/>
              <a:t>Nürnberg</a:t>
            </a:r>
            <a:br>
              <a:rPr lang="en-US" dirty="0"/>
            </a:br>
            <a:r>
              <a:rPr lang="en-US" dirty="0"/>
              <a:t>Germany</a:t>
            </a:r>
          </a:p>
          <a:p>
            <a:pPr lvl="1"/>
            <a:r>
              <a:rPr lang="en-US" dirty="0"/>
              <a:t>Mobile +49 172 826 8876</a:t>
            </a:r>
          </a:p>
          <a:p>
            <a:endParaRPr lang="en-US" dirty="0"/>
          </a:p>
          <a:p>
            <a:pPr lvl="1"/>
            <a:r>
              <a:rPr lang="en-US" dirty="0"/>
              <a:t>E-mail </a:t>
            </a:r>
            <a:r>
              <a:rPr lang="en-US" dirty="0">
                <a:hlinkClick r:id="rId2"/>
              </a:rPr>
              <a:t>andreas.Litzinger@siemens.com</a:t>
            </a:r>
            <a:endParaRPr lang="en-US" dirty="0"/>
          </a:p>
        </p:txBody>
      </p:sp>
      <p:sp>
        <p:nvSpPr>
          <p:cNvPr id="2" name="Footer Placeholder">
            <a:extLst>
              <a:ext uri="{FF2B5EF4-FFF2-40B4-BE49-F238E27FC236}">
                <a16:creationId xmlns:a16="http://schemas.microsoft.com/office/drawing/2014/main" id="{7D86EBFB-CE6A-4758-896A-AAD8E1D08CC8}"/>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6" name="Subtitle">
            <a:extLst>
              <a:ext uri="{FF2B5EF4-FFF2-40B4-BE49-F238E27FC236}">
                <a16:creationId xmlns:a16="http://schemas.microsoft.com/office/drawing/2014/main" id="{E74D0C61-03D5-47DF-8DC9-560CED6BD92F}"/>
              </a:ext>
            </a:extLst>
          </p:cNvPr>
          <p:cNvSpPr txBox="1">
            <a:spLocks/>
          </p:cNvSpPr>
          <p:nvPr/>
        </p:nvSpPr>
        <p:spPr>
          <a:xfrm>
            <a:off x="5782800" y="2397324"/>
            <a:ext cx="4491600" cy="3409751"/>
          </a:xfrm>
          <a:prstGeom prst="rect">
            <a:avLst/>
          </a:prstGeom>
        </p:spPr>
        <p:txBody>
          <a:bodyPr vert="horz" lIns="0" tIns="108000" rIns="0" bIns="0" rtlCol="0">
            <a:noAutofit/>
          </a:bodyPr>
          <a:lstStyle>
            <a:lvl1pPr marL="0" indent="0" algn="l" defTabSz="914400" rtl="0" eaLnBrk="1" latinLnBrk="0" hangingPunct="1">
              <a:lnSpc>
                <a:spcPct val="11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0" indent="0" algn="l" defTabSz="914400" rtl="0" eaLnBrk="1" latinLnBrk="0" hangingPunct="1">
              <a:lnSpc>
                <a:spcPct val="110000"/>
              </a:lnSpc>
              <a:spcBef>
                <a:spcPts val="600"/>
              </a:spcBef>
              <a:spcAft>
                <a:spcPts val="0"/>
              </a:spcAft>
              <a:buClr>
                <a:schemeClr val="accent1"/>
              </a:buClr>
              <a:buFont typeface="Arial" panose="020B0604020202020204" pitchFamily="34" charset="0"/>
              <a:buNone/>
              <a:defRPr sz="1400" b="1" kern="1200">
                <a:solidFill>
                  <a:schemeClr val="tx1"/>
                </a:solidFill>
                <a:latin typeface="+mn-lt"/>
                <a:ea typeface="+mn-ea"/>
                <a:cs typeface="+mn-cs"/>
              </a:defRPr>
            </a:lvl2pPr>
            <a:lvl3pPr marL="18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0" kern="1200">
                <a:solidFill>
                  <a:schemeClr val="tx1"/>
                </a:solidFill>
                <a:latin typeface="+mn-lt"/>
                <a:ea typeface="+mn-ea"/>
                <a:cs typeface="+mn-cs"/>
              </a:defRPr>
            </a:lvl3pPr>
            <a:lvl4pPr marL="36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1" kern="1200">
                <a:solidFill>
                  <a:schemeClr val="tx1"/>
                </a:solidFill>
                <a:latin typeface="+mn-lt"/>
                <a:ea typeface="+mn-ea"/>
                <a:cs typeface="+mn-cs"/>
              </a:defRPr>
            </a:lvl5pPr>
            <a:lvl6pPr marL="54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6pPr>
            <a:lvl7pPr marL="54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1" kern="1200">
                <a:solidFill>
                  <a:schemeClr val="tx1"/>
                </a:solidFill>
                <a:latin typeface="+mn-lt"/>
                <a:ea typeface="+mn-ea"/>
                <a:cs typeface="+mn-cs"/>
              </a:defRPr>
            </a:lvl7pPr>
            <a:lvl8pPr marL="72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kern="1200">
                <a:solidFill>
                  <a:schemeClr val="tx1"/>
                </a:solidFill>
                <a:latin typeface="+mn-lt"/>
                <a:ea typeface="+mn-ea"/>
                <a:cs typeface="+mn-cs"/>
              </a:defRPr>
            </a:lvl8pPr>
            <a:lvl9pPr marL="720000" indent="-180000" algn="l" defTabSz="914400" rtl="0" eaLnBrk="1" latinLnBrk="0" hangingPunct="1">
              <a:lnSpc>
                <a:spcPct val="110000"/>
              </a:lnSpc>
              <a:spcBef>
                <a:spcPts val="0"/>
              </a:spcBef>
              <a:spcAft>
                <a:spcPts val="0"/>
              </a:spcAft>
              <a:buClr>
                <a:schemeClr val="accent1"/>
              </a:buClr>
              <a:buFont typeface="Arial" panose="020B0604020202020204" pitchFamily="34" charset="0"/>
              <a:buChar char="•"/>
              <a:defRPr sz="1400" b="1" kern="1200">
                <a:solidFill>
                  <a:schemeClr val="tx1"/>
                </a:solidFill>
                <a:latin typeface="+mn-lt"/>
                <a:ea typeface="+mn-ea"/>
                <a:cs typeface="+mn-cs"/>
              </a:defRPr>
            </a:lvl9pPr>
          </a:lstStyle>
          <a:p>
            <a:pPr lvl="1"/>
            <a:endParaRPr lang="en-US" dirty="0"/>
          </a:p>
          <a:p>
            <a:pPr lvl="1"/>
            <a:r>
              <a:rPr lang="en-US" dirty="0"/>
              <a:t>José Malagon</a:t>
            </a:r>
          </a:p>
          <a:p>
            <a:r>
              <a:rPr lang="en-US" dirty="0"/>
              <a:t>Promotor “Wide Area Monitoring, Protection and Control”</a:t>
            </a:r>
            <a:br>
              <a:rPr lang="en-US" dirty="0"/>
            </a:br>
            <a:endParaRPr lang="en-US" dirty="0"/>
          </a:p>
          <a:p>
            <a:endParaRPr lang="en-US" dirty="0"/>
          </a:p>
          <a:p>
            <a:r>
              <a:rPr lang="en-US" dirty="0"/>
              <a:t>SI DG EA-P&amp;R DE-HP </a:t>
            </a:r>
          </a:p>
          <a:p>
            <a:r>
              <a:rPr lang="en-US" dirty="0" err="1"/>
              <a:t>Humboldtstr</a:t>
            </a:r>
            <a:r>
              <a:rPr lang="en-US" dirty="0"/>
              <a:t>. 59</a:t>
            </a:r>
            <a:br>
              <a:rPr lang="en-US" dirty="0"/>
            </a:br>
            <a:r>
              <a:rPr lang="en-US" dirty="0"/>
              <a:t>90765 </a:t>
            </a:r>
            <a:r>
              <a:rPr lang="en-US" dirty="0" err="1"/>
              <a:t>Nürnberg</a:t>
            </a:r>
            <a:br>
              <a:rPr lang="en-US" dirty="0"/>
            </a:br>
            <a:r>
              <a:rPr lang="en-US" dirty="0"/>
              <a:t>Germany</a:t>
            </a:r>
          </a:p>
          <a:p>
            <a:pPr lvl="1"/>
            <a:r>
              <a:rPr lang="en-US" dirty="0"/>
              <a:t>Mobile 	+49 (172) 1534595</a:t>
            </a:r>
          </a:p>
          <a:p>
            <a:pPr lvl="1"/>
            <a:br>
              <a:rPr lang="en-US" dirty="0"/>
            </a:br>
            <a:r>
              <a:rPr lang="en-US" dirty="0"/>
              <a:t>E-mail </a:t>
            </a:r>
            <a:r>
              <a:rPr lang="en-US" dirty="0">
                <a:hlinkClick r:id="rId3"/>
              </a:rPr>
              <a:t>jose.malagon@siemens.com</a:t>
            </a:r>
            <a:endParaRPr lang="en-US" dirty="0"/>
          </a:p>
        </p:txBody>
      </p:sp>
      <p:sp>
        <p:nvSpPr>
          <p:cNvPr id="4" name="Foliennummernplatzhalter 3">
            <a:extLst>
              <a:ext uri="{FF2B5EF4-FFF2-40B4-BE49-F238E27FC236}">
                <a16:creationId xmlns:a16="http://schemas.microsoft.com/office/drawing/2014/main" id="{F0BF8DA3-4C43-4377-B258-7A59908FFBF3}"/>
              </a:ext>
            </a:extLst>
          </p:cNvPr>
          <p:cNvSpPr>
            <a:spLocks noGrp="1"/>
          </p:cNvSpPr>
          <p:nvPr>
            <p:ph type="sldNum" sz="quarter" idx="11"/>
          </p:nvPr>
        </p:nvSpPr>
        <p:spPr/>
        <p:txBody>
          <a:bodyPr/>
          <a:lstStyle/>
          <a:p>
            <a:r>
              <a:rPr lang="en-US"/>
              <a:t>Page </a:t>
            </a:r>
            <a:fld id="{15EBE321-CBB1-4E91-BD14-37C8D44326FB}" type="slidenum">
              <a:rPr lang="en-US" smtClean="0"/>
              <a:pPr/>
              <a:t>35</a:t>
            </a:fld>
            <a:endParaRPr lang="en-US" dirty="0"/>
          </a:p>
        </p:txBody>
      </p:sp>
    </p:spTree>
    <p:extLst>
      <p:ext uri="{BB962C8B-B14F-4D97-AF65-F5344CB8AC3E}">
        <p14:creationId xmlns:p14="http://schemas.microsoft.com/office/powerpoint/2010/main" val="3044083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A7942B6-5A78-4AAA-AFAC-92E6AA2307EE}"/>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4" name="Objekt 3" hidden="1">
                        <a:extLst>
                          <a:ext uri="{FF2B5EF4-FFF2-40B4-BE49-F238E27FC236}">
                            <a16:creationId xmlns:a16="http://schemas.microsoft.com/office/drawing/2014/main" id="{EA7942B6-5A78-4AAA-AFAC-92E6AA2307EE}"/>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204B1AE-0EE9-4876-BC7E-C479982C1F14}"/>
              </a:ext>
            </a:extLst>
          </p:cNvPr>
          <p:cNvSpPr/>
          <p:nvPr>
            <p:custDataLst>
              <p:tags r:id="rId2"/>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lnSpc>
                <a:spcPct val="110000"/>
              </a:lnSpc>
              <a:spcBef>
                <a:spcPct val="0"/>
              </a:spcBef>
              <a:buFont typeface="Wingdings" charset="0"/>
              <a:buNone/>
            </a:pPr>
            <a:endParaRPr lang="de-DE" sz="2199" b="1" dirty="0">
              <a:ea typeface="+mj-ea"/>
              <a:cs typeface="Arial" panose="020B0604020202020204" pitchFamily="34" charset="0"/>
              <a:sym typeface="Arial" panose="020B0604020202020204" pitchFamily="34" charset="0"/>
            </a:endParaRPr>
          </a:p>
        </p:txBody>
      </p:sp>
      <p:sp>
        <p:nvSpPr>
          <p:cNvPr id="3" name="Titel 2"/>
          <p:cNvSpPr>
            <a:spLocks noGrp="1"/>
          </p:cNvSpPr>
          <p:nvPr>
            <p:ph type="title"/>
          </p:nvPr>
        </p:nvSpPr>
        <p:spPr/>
        <p:txBody>
          <a:bodyPr/>
          <a:lstStyle/>
          <a:p>
            <a:r>
              <a:rPr lang="de-DE" dirty="0"/>
              <a:t>SIGUARD PDP</a:t>
            </a:r>
            <a:br>
              <a:rPr lang="de-DE" dirty="0"/>
            </a:br>
            <a:r>
              <a:rPr lang="de-DE" dirty="0"/>
              <a:t>Highlights</a:t>
            </a:r>
          </a:p>
        </p:txBody>
      </p:sp>
      <p:sp>
        <p:nvSpPr>
          <p:cNvPr id="6" name="Inhaltsplatzhalter 3"/>
          <p:cNvSpPr txBox="1">
            <a:spLocks/>
          </p:cNvSpPr>
          <p:nvPr/>
        </p:nvSpPr>
        <p:spPr>
          <a:xfrm>
            <a:off x="626736" y="1413925"/>
            <a:ext cx="10939023" cy="4750501"/>
          </a:xfrm>
          <a:prstGeom prst="rect">
            <a:avLst/>
          </a:prstGeom>
        </p:spPr>
        <p:txBody>
          <a:bodyPr lIns="0" tIns="0" rIns="107944"/>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algn="ctr">
              <a:lnSpc>
                <a:spcPct val="150000"/>
              </a:lnSpc>
            </a:pPr>
            <a:r>
              <a:rPr lang="en-US" sz="3198" kern="0" dirty="0"/>
              <a:t>SIGUARD PDP </a:t>
            </a:r>
            <a:br>
              <a:rPr lang="en-US" sz="3198" kern="0" dirty="0"/>
            </a:br>
            <a:r>
              <a:rPr lang="en-US" sz="1999" kern="0" dirty="0"/>
              <a:t>is a </a:t>
            </a:r>
          </a:p>
          <a:p>
            <a:pPr algn="ctr">
              <a:lnSpc>
                <a:spcPct val="150000"/>
              </a:lnSpc>
            </a:pPr>
            <a:r>
              <a:rPr lang="en-US" sz="2799" i="1" kern="0" dirty="0"/>
              <a:t>scalable</a:t>
            </a:r>
            <a:r>
              <a:rPr lang="en-US" sz="2799" kern="0" dirty="0"/>
              <a:t>, </a:t>
            </a:r>
          </a:p>
          <a:p>
            <a:pPr algn="ctr">
              <a:lnSpc>
                <a:spcPct val="150000"/>
              </a:lnSpc>
            </a:pPr>
            <a:r>
              <a:rPr lang="en-US" sz="2799" i="1" kern="0" dirty="0"/>
              <a:t>fully integrated,</a:t>
            </a:r>
          </a:p>
          <a:p>
            <a:pPr algn="ctr">
              <a:lnSpc>
                <a:spcPct val="150000"/>
              </a:lnSpc>
            </a:pPr>
            <a:r>
              <a:rPr lang="en-US" sz="2799" i="1" kern="0" dirty="0"/>
              <a:t>worldwide used </a:t>
            </a:r>
            <a:br>
              <a:rPr lang="en-US" sz="3198" i="1" kern="0" dirty="0"/>
            </a:br>
            <a:r>
              <a:rPr lang="en-US" sz="1999" kern="0" dirty="0"/>
              <a:t>solution for </a:t>
            </a:r>
          </a:p>
          <a:p>
            <a:pPr algn="ctr">
              <a:lnSpc>
                <a:spcPct val="150000"/>
              </a:lnSpc>
            </a:pPr>
            <a:r>
              <a:rPr lang="en-US" sz="2799" kern="0" dirty="0"/>
              <a:t>Wide Area Monitoring, Protection and Control (WAMPAC)</a:t>
            </a:r>
          </a:p>
          <a:p>
            <a:endParaRPr lang="en-US" sz="1799" kern="0" dirty="0"/>
          </a:p>
        </p:txBody>
      </p:sp>
      <p:sp>
        <p:nvSpPr>
          <p:cNvPr id="7" name="Fußzeilenplatzhalter 6">
            <a:extLst>
              <a:ext uri="{FF2B5EF4-FFF2-40B4-BE49-F238E27FC236}">
                <a16:creationId xmlns:a16="http://schemas.microsoft.com/office/drawing/2014/main" id="{A4619ABA-08B6-432C-9457-D3ACDCC11523}"/>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BE99A6C6-99B4-4BD3-8820-0668265C8732}"/>
              </a:ext>
            </a:extLst>
          </p:cNvPr>
          <p:cNvSpPr>
            <a:spLocks noGrp="1"/>
          </p:cNvSpPr>
          <p:nvPr>
            <p:ph type="sldNum" sz="quarter" idx="11"/>
          </p:nvPr>
        </p:nvSpPr>
        <p:spPr/>
        <p:txBody>
          <a:bodyPr/>
          <a:lstStyle/>
          <a:p>
            <a:r>
              <a:rPr lang="en-US"/>
              <a:t>Page </a:t>
            </a:r>
            <a:fld id="{15EBE321-CBB1-4E91-BD14-37C8D44326FB}" type="slidenum">
              <a:rPr lang="en-US" smtClean="0"/>
              <a:pPr/>
              <a:t>4</a:t>
            </a:fld>
            <a:endParaRPr lang="en-US" dirty="0"/>
          </a:p>
        </p:txBody>
      </p:sp>
    </p:spTree>
    <p:extLst>
      <p:ext uri="{BB962C8B-B14F-4D97-AF65-F5344CB8AC3E}">
        <p14:creationId xmlns:p14="http://schemas.microsoft.com/office/powerpoint/2010/main" val="2093851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 calcmode="lin" valueType="num">
                                      <p:cBhvr additive="base">
                                        <p:cTn id="7" dur="500" fill="hold"/>
                                        <p:tgtEl>
                                          <p:spTgt spid="6">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anim calcmode="lin" valueType="num">
                                      <p:cBhvr additive="base">
                                        <p:cTn id="13" dur="500" fill="hold"/>
                                        <p:tgtEl>
                                          <p:spTgt spid="6">
                                            <p:txEl>
                                              <p:pRg st="1" end="1"/>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6">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 calcmode="lin" valueType="num">
                                      <p:cBhvr additive="base">
                                        <p:cTn id="19" dur="500" fill="hold"/>
                                        <p:tgtEl>
                                          <p:spTgt spid="6">
                                            <p:txEl>
                                              <p:pRg st="2" end="2"/>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anim calcmode="lin" valueType="num">
                                      <p:cBhvr additive="base">
                                        <p:cTn id="25" dur="500" fill="hold"/>
                                        <p:tgtEl>
                                          <p:spTgt spid="6">
                                            <p:txEl>
                                              <p:pRg st="3" end="3"/>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6">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6">
                                            <p:txEl>
                                              <p:pRg st="4" end="4"/>
                                            </p:txEl>
                                          </p:spTgt>
                                        </p:tgtEl>
                                        <p:attrNameLst>
                                          <p:attrName>style.visibility</p:attrName>
                                        </p:attrNameLst>
                                      </p:cBhvr>
                                      <p:to>
                                        <p:strVal val="visible"/>
                                      </p:to>
                                    </p:set>
                                    <p:anim calcmode="lin" valueType="num">
                                      <p:cBhvr additive="base">
                                        <p:cTn id="31" dur="500" fill="hold"/>
                                        <p:tgtEl>
                                          <p:spTgt spid="6">
                                            <p:txEl>
                                              <p:pRg st="4" end="4"/>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4" end="4"/>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A7942B6-5A78-4AAA-AFAC-92E6AA2307EE}"/>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4" name="Objekt 3" hidden="1">
                        <a:extLst>
                          <a:ext uri="{FF2B5EF4-FFF2-40B4-BE49-F238E27FC236}">
                            <a16:creationId xmlns:a16="http://schemas.microsoft.com/office/drawing/2014/main" id="{EA7942B6-5A78-4AAA-AFAC-92E6AA2307EE}"/>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204B1AE-0EE9-4876-BC7E-C479982C1F14}"/>
              </a:ext>
            </a:extLst>
          </p:cNvPr>
          <p:cNvSpPr/>
          <p:nvPr>
            <p:custDataLst>
              <p:tags r:id="rId2"/>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lnSpc>
                <a:spcPct val="110000"/>
              </a:lnSpc>
              <a:spcBef>
                <a:spcPct val="0"/>
              </a:spcBef>
              <a:buFont typeface="Wingdings" charset="0"/>
              <a:buNone/>
            </a:pPr>
            <a:endParaRPr lang="de-DE" sz="2199" b="1" dirty="0">
              <a:ea typeface="+mj-ea"/>
              <a:cs typeface="Arial" panose="020B0604020202020204" pitchFamily="34" charset="0"/>
              <a:sym typeface="Arial" panose="020B0604020202020204" pitchFamily="34" charset="0"/>
            </a:endParaRPr>
          </a:p>
        </p:txBody>
      </p:sp>
      <p:sp>
        <p:nvSpPr>
          <p:cNvPr id="3" name="Titel 2"/>
          <p:cNvSpPr>
            <a:spLocks noGrp="1"/>
          </p:cNvSpPr>
          <p:nvPr>
            <p:ph type="title"/>
          </p:nvPr>
        </p:nvSpPr>
        <p:spPr/>
        <p:txBody>
          <a:bodyPr/>
          <a:lstStyle/>
          <a:p>
            <a:r>
              <a:rPr lang="de-DE" dirty="0"/>
              <a:t>SIGUARD PDP</a:t>
            </a:r>
            <a:br>
              <a:rPr lang="de-DE" dirty="0"/>
            </a:br>
            <a:r>
              <a:rPr lang="de-DE" dirty="0"/>
              <a:t>Highlights</a:t>
            </a:r>
          </a:p>
        </p:txBody>
      </p:sp>
      <p:sp>
        <p:nvSpPr>
          <p:cNvPr id="6" name="Inhaltsplatzhalter 3"/>
          <p:cNvSpPr txBox="1">
            <a:spLocks/>
          </p:cNvSpPr>
          <p:nvPr/>
        </p:nvSpPr>
        <p:spPr>
          <a:xfrm>
            <a:off x="626737" y="1413925"/>
            <a:ext cx="9931435" cy="4750501"/>
          </a:xfrm>
          <a:prstGeom prst="rect">
            <a:avLst/>
          </a:prstGeom>
        </p:spPr>
        <p:txBody>
          <a:bodyPr lIns="0" tIns="0" rIns="107944"/>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buFont typeface="Arial" panose="020B0604020202020204" pitchFamily="34" charset="0"/>
              <a:buChar char="•"/>
            </a:pPr>
            <a:r>
              <a:rPr lang="en-US" sz="1799" b="1" kern="0" dirty="0"/>
              <a:t>Scalable</a:t>
            </a:r>
          </a:p>
          <a:p>
            <a:pPr marL="644203" lvl="2" indent="-285607">
              <a:buFont typeface="Arial" panose="020B0604020202020204" pitchFamily="34" charset="0"/>
              <a:buChar char="•"/>
            </a:pPr>
            <a:r>
              <a:rPr lang="en-US" sz="1799" kern="0" dirty="0"/>
              <a:t>Small substation data concentrator, small number of PMU (~ 10)</a:t>
            </a:r>
          </a:p>
          <a:p>
            <a:pPr marL="644203" lvl="2" indent="-285607">
              <a:buFont typeface="Arial" panose="020B0604020202020204" pitchFamily="34" charset="0"/>
              <a:buChar char="•"/>
            </a:pPr>
            <a:r>
              <a:rPr lang="en-US" sz="1799" kern="0" dirty="0"/>
              <a:t>Regional data concentrator, mid number of PMU (~ 50)</a:t>
            </a:r>
          </a:p>
          <a:p>
            <a:pPr marL="644203" lvl="2" indent="-285607">
              <a:buFont typeface="Arial" panose="020B0604020202020204" pitchFamily="34" charset="0"/>
              <a:buChar char="•"/>
            </a:pPr>
            <a:r>
              <a:rPr lang="en-US" sz="1799" kern="0" dirty="0"/>
              <a:t>Regional monitoring system with applications, with or without redundancy</a:t>
            </a:r>
          </a:p>
          <a:p>
            <a:pPr marL="644203" lvl="2" indent="-285607">
              <a:buFont typeface="Arial" panose="020B0604020202020204" pitchFamily="34" charset="0"/>
              <a:buChar char="•"/>
            </a:pPr>
            <a:r>
              <a:rPr lang="en-US" sz="1799" kern="0" dirty="0"/>
              <a:t>National monitoring system with applications, single site, high number of PMU (~ 250), with or without redundancy</a:t>
            </a:r>
          </a:p>
          <a:p>
            <a:pPr marL="644203" lvl="2" indent="-285607">
              <a:buFont typeface="Arial" panose="020B0604020202020204" pitchFamily="34" charset="0"/>
              <a:buChar char="•"/>
            </a:pPr>
            <a:r>
              <a:rPr lang="en-US" sz="1799" kern="0" dirty="0"/>
              <a:t>National monitoring system with applications, with data maintenance, main, backup and development site (multisite), bulk number of PMU (&gt; 600), mixed redundant and non-redundant sites</a:t>
            </a:r>
          </a:p>
          <a:p>
            <a:pPr marL="644203" lvl="2" indent="-285607">
              <a:buFont typeface="Arial" panose="020B0604020202020204" pitchFamily="34" charset="0"/>
              <a:buChar char="•"/>
            </a:pPr>
            <a:r>
              <a:rPr lang="en-US" sz="1799" kern="0" dirty="0"/>
              <a:t>Wide Area Protection with redundancy</a:t>
            </a:r>
          </a:p>
          <a:p>
            <a:pPr lvl="2" indent="0">
              <a:buNone/>
            </a:pPr>
            <a:endParaRPr lang="en-US" sz="1799" kern="0" dirty="0"/>
          </a:p>
          <a:p>
            <a:pPr lvl="2" indent="0">
              <a:buNone/>
            </a:pPr>
            <a:r>
              <a:rPr lang="en-US" sz="1799" kern="0" dirty="0"/>
              <a:t>All these projects use same software package. Software license structure is designed to allow pricing according to functions used.</a:t>
            </a:r>
          </a:p>
          <a:p>
            <a:pPr lvl="2" indent="0" algn="ctr">
              <a:buNone/>
            </a:pPr>
            <a:r>
              <a:rPr lang="en-US" sz="4398" kern="0" dirty="0"/>
              <a:t>Pay what you need</a:t>
            </a:r>
          </a:p>
        </p:txBody>
      </p:sp>
      <p:sp>
        <p:nvSpPr>
          <p:cNvPr id="5" name="Fußzeilenplatzhalter 4">
            <a:extLst>
              <a:ext uri="{FF2B5EF4-FFF2-40B4-BE49-F238E27FC236}">
                <a16:creationId xmlns:a16="http://schemas.microsoft.com/office/drawing/2014/main" id="{D0E56A42-5F23-48AB-9B65-62E4DFC092C2}"/>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7" name="Foliennummernplatzhalter 6">
            <a:extLst>
              <a:ext uri="{FF2B5EF4-FFF2-40B4-BE49-F238E27FC236}">
                <a16:creationId xmlns:a16="http://schemas.microsoft.com/office/drawing/2014/main" id="{04F10F57-DB69-4ED9-8F81-E62ED060B344}"/>
              </a:ext>
            </a:extLst>
          </p:cNvPr>
          <p:cNvSpPr>
            <a:spLocks noGrp="1"/>
          </p:cNvSpPr>
          <p:nvPr>
            <p:ph type="sldNum" sz="quarter" idx="11"/>
          </p:nvPr>
        </p:nvSpPr>
        <p:spPr/>
        <p:txBody>
          <a:bodyPr/>
          <a:lstStyle/>
          <a:p>
            <a:r>
              <a:rPr lang="en-US"/>
              <a:t>Page </a:t>
            </a:r>
            <a:fld id="{15EBE321-CBB1-4E91-BD14-37C8D44326FB}" type="slidenum">
              <a:rPr lang="en-US" smtClean="0"/>
              <a:pPr/>
              <a:t>5</a:t>
            </a:fld>
            <a:endParaRPr lang="en-US" dirty="0"/>
          </a:p>
        </p:txBody>
      </p:sp>
    </p:spTree>
    <p:extLst>
      <p:ext uri="{BB962C8B-B14F-4D97-AF65-F5344CB8AC3E}">
        <p14:creationId xmlns:p14="http://schemas.microsoft.com/office/powerpoint/2010/main" val="2885345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500"/>
                                        <p:tgtEl>
                                          <p:spTgt spid="6">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4" end="4"/>
                                            </p:txEl>
                                          </p:spTgt>
                                        </p:tgtEl>
                                        <p:attrNameLst>
                                          <p:attrName>style.visibility</p:attrName>
                                        </p:attrNameLst>
                                      </p:cBhvr>
                                      <p:to>
                                        <p:strVal val="visible"/>
                                      </p:to>
                                    </p:set>
                                    <p:animEffect transition="in" filter="fade">
                                      <p:cBhvr>
                                        <p:cTn id="22" dur="500"/>
                                        <p:tgtEl>
                                          <p:spTgt spid="6">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animEffect transition="in" filter="fade">
                                      <p:cBhvr>
                                        <p:cTn id="27" dur="500"/>
                                        <p:tgtEl>
                                          <p:spTgt spid="6">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6" end="6"/>
                                            </p:txEl>
                                          </p:spTgt>
                                        </p:tgtEl>
                                        <p:attrNameLst>
                                          <p:attrName>style.visibility</p:attrName>
                                        </p:attrNameLst>
                                      </p:cBhvr>
                                      <p:to>
                                        <p:strVal val="visible"/>
                                      </p:to>
                                    </p:set>
                                    <p:animEffect transition="in" filter="fade">
                                      <p:cBhvr>
                                        <p:cTn id="32" dur="500"/>
                                        <p:tgtEl>
                                          <p:spTgt spid="6">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8" end="8"/>
                                            </p:txEl>
                                          </p:spTgt>
                                        </p:tgtEl>
                                        <p:attrNameLst>
                                          <p:attrName>style.visibility</p:attrName>
                                        </p:attrNameLst>
                                      </p:cBhvr>
                                      <p:to>
                                        <p:strVal val="visible"/>
                                      </p:to>
                                    </p:set>
                                    <p:animEffect transition="in" filter="fade">
                                      <p:cBhvr>
                                        <p:cTn id="37" dur="500"/>
                                        <p:tgtEl>
                                          <p:spTgt spid="6">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6">
                                            <p:txEl>
                                              <p:pRg st="9" end="9"/>
                                            </p:txEl>
                                          </p:spTgt>
                                        </p:tgtEl>
                                        <p:attrNameLst>
                                          <p:attrName>style.visibility</p:attrName>
                                        </p:attrNameLst>
                                      </p:cBhvr>
                                      <p:to>
                                        <p:strVal val="visible"/>
                                      </p:to>
                                    </p:set>
                                    <p:animEffect transition="in" filter="fade">
                                      <p:cBhvr>
                                        <p:cTn id="42" dur="1000"/>
                                        <p:tgtEl>
                                          <p:spTgt spid="6">
                                            <p:txEl>
                                              <p:pRg st="9" end="9"/>
                                            </p:txEl>
                                          </p:spTgt>
                                        </p:tgtEl>
                                      </p:cBhvr>
                                    </p:animEffect>
                                    <p:anim calcmode="lin" valueType="num">
                                      <p:cBhvr>
                                        <p:cTn id="43" dur="1000" fill="hold"/>
                                        <p:tgtEl>
                                          <p:spTgt spid="6">
                                            <p:txEl>
                                              <p:pRg st="9" end="9"/>
                                            </p:txEl>
                                          </p:spTgt>
                                        </p:tgtEl>
                                        <p:attrNameLst>
                                          <p:attrName>ppt_x</p:attrName>
                                        </p:attrNameLst>
                                      </p:cBhvr>
                                      <p:tavLst>
                                        <p:tav tm="0">
                                          <p:val>
                                            <p:strVal val="#ppt_x"/>
                                          </p:val>
                                        </p:tav>
                                        <p:tav tm="100000">
                                          <p:val>
                                            <p:strVal val="#ppt_x"/>
                                          </p:val>
                                        </p:tav>
                                      </p:tavLst>
                                    </p:anim>
                                    <p:anim calcmode="lin" valueType="num">
                                      <p:cBhvr>
                                        <p:cTn id="44" dur="1000" fill="hold"/>
                                        <p:tgtEl>
                                          <p:spTgt spid="6">
                                            <p:txEl>
                                              <p:pRg st="9" end="9"/>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EA7942B6-5A78-4AAA-AFAC-92E6AA2307EE}"/>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Folie" r:id="rId4" imgW="338" imgH="338" progId="TCLayout.ActiveDocument.1">
                  <p:embed/>
                </p:oleObj>
              </mc:Choice>
              <mc:Fallback>
                <p:oleObj name="think-cell Folie" r:id="rId4" imgW="338" imgH="338" progId="TCLayout.ActiveDocument.1">
                  <p:embed/>
                  <p:pic>
                    <p:nvPicPr>
                      <p:cNvPr id="4" name="Objekt 3" hidden="1">
                        <a:extLst>
                          <a:ext uri="{FF2B5EF4-FFF2-40B4-BE49-F238E27FC236}">
                            <a16:creationId xmlns:a16="http://schemas.microsoft.com/office/drawing/2014/main" id="{EA7942B6-5A78-4AAA-AFAC-92E6AA2307EE}"/>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9204B1AE-0EE9-4876-BC7E-C479982C1F14}"/>
              </a:ext>
            </a:extLst>
          </p:cNvPr>
          <p:cNvSpPr/>
          <p:nvPr>
            <p:custDataLst>
              <p:tags r:id="rId2"/>
            </p:custDataLst>
          </p:nvPr>
        </p:nvSpPr>
        <p:spPr bwMode="auto">
          <a:xfrm>
            <a:off x="0" y="1785"/>
            <a:ext cx="158667" cy="158667"/>
          </a:xfrm>
          <a:prstGeom prst="rect">
            <a:avLst/>
          </a:prstGeom>
          <a:solidFill>
            <a:schemeClr val="accent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numCol="1" spcCol="0" rtlCol="0" anchor="ctr">
            <a:noAutofit/>
          </a:bodyPr>
          <a:lstStyle/>
          <a:p>
            <a:pPr algn="ctr">
              <a:lnSpc>
                <a:spcPct val="110000"/>
              </a:lnSpc>
              <a:spcBef>
                <a:spcPct val="0"/>
              </a:spcBef>
              <a:buFont typeface="Wingdings" charset="0"/>
              <a:buNone/>
            </a:pPr>
            <a:endParaRPr lang="de-DE" sz="2199" b="1" dirty="0">
              <a:ea typeface="+mj-ea"/>
              <a:cs typeface="Arial" panose="020B0604020202020204" pitchFamily="34" charset="0"/>
              <a:sym typeface="Arial" panose="020B0604020202020204" pitchFamily="34" charset="0"/>
            </a:endParaRPr>
          </a:p>
        </p:txBody>
      </p:sp>
      <p:sp>
        <p:nvSpPr>
          <p:cNvPr id="3" name="Titel 2"/>
          <p:cNvSpPr>
            <a:spLocks noGrp="1"/>
          </p:cNvSpPr>
          <p:nvPr>
            <p:ph type="title"/>
          </p:nvPr>
        </p:nvSpPr>
        <p:spPr/>
        <p:txBody>
          <a:bodyPr/>
          <a:lstStyle/>
          <a:p>
            <a:r>
              <a:rPr lang="de-DE" dirty="0"/>
              <a:t>SIGUARD PDP</a:t>
            </a:r>
            <a:br>
              <a:rPr lang="de-DE" dirty="0"/>
            </a:br>
            <a:r>
              <a:rPr lang="de-DE" dirty="0"/>
              <a:t>Highlights</a:t>
            </a:r>
          </a:p>
        </p:txBody>
      </p:sp>
      <p:sp>
        <p:nvSpPr>
          <p:cNvPr id="6" name="Inhaltsplatzhalter 3"/>
          <p:cNvSpPr txBox="1">
            <a:spLocks/>
          </p:cNvSpPr>
          <p:nvPr/>
        </p:nvSpPr>
        <p:spPr>
          <a:xfrm>
            <a:off x="626737" y="1413925"/>
            <a:ext cx="9931435" cy="4750501"/>
          </a:xfrm>
          <a:prstGeom prst="rect">
            <a:avLst/>
          </a:prstGeom>
        </p:spPr>
        <p:txBody>
          <a:bodyPr lIns="0" tIns="0" rIns="107944"/>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buFont typeface="Arial" panose="020B0604020202020204" pitchFamily="34" charset="0"/>
              <a:buChar char="•"/>
            </a:pPr>
            <a:r>
              <a:rPr lang="en-US" sz="1799" b="1" kern="0" dirty="0"/>
              <a:t>Scalable</a:t>
            </a:r>
          </a:p>
          <a:p>
            <a:pPr marL="644203" lvl="2" indent="-285607">
              <a:buFont typeface="Arial" panose="020B0604020202020204" pitchFamily="34" charset="0"/>
              <a:buChar char="•"/>
            </a:pPr>
            <a:r>
              <a:rPr lang="en-US" sz="1799" kern="0" dirty="0"/>
              <a:t>Easy start into Wide Area Monitoring with simple data concentrator with integrated MMI </a:t>
            </a:r>
          </a:p>
          <a:p>
            <a:pPr marL="644203" lvl="2" indent="-285607">
              <a:buFont typeface="Arial" panose="020B0604020202020204" pitchFamily="34" charset="0"/>
              <a:buChar char="•"/>
            </a:pPr>
            <a:r>
              <a:rPr lang="en-US" sz="1799" kern="0" dirty="0"/>
              <a:t>Extension of existing system just needs additional software license, no additional installation or integration effort necessary</a:t>
            </a:r>
          </a:p>
          <a:p>
            <a:pPr lvl="2" indent="0" algn="ctr">
              <a:buNone/>
            </a:pPr>
            <a:r>
              <a:rPr lang="en-US" sz="3998" kern="0" dirty="0"/>
              <a:t>Grows with your requirements</a:t>
            </a:r>
          </a:p>
          <a:p>
            <a:pPr lvl="2" indent="0">
              <a:buNone/>
            </a:pPr>
            <a:endParaRPr lang="en-US" sz="1999" kern="0" dirty="0"/>
          </a:p>
          <a:p>
            <a:pPr marL="644203" lvl="2" indent="-285607"/>
            <a:r>
              <a:rPr lang="en-US" sz="1999" kern="0" dirty="0"/>
              <a:t>Easy-to-use workflow to reduce upgrade costs for new functionalities provided with new versions</a:t>
            </a:r>
          </a:p>
          <a:p>
            <a:pPr lvl="2" indent="0" algn="ctr">
              <a:buNone/>
            </a:pPr>
            <a:r>
              <a:rPr lang="en-US" sz="3998" kern="0" dirty="0"/>
              <a:t>Supports evergreen concept</a:t>
            </a:r>
          </a:p>
          <a:p>
            <a:pPr marL="644203" lvl="2" indent="-285607">
              <a:buFont typeface="Arial" panose="020B0604020202020204" pitchFamily="34" charset="0"/>
              <a:buChar char="•"/>
            </a:pPr>
            <a:endParaRPr lang="en-US" sz="1799" kern="0" dirty="0"/>
          </a:p>
        </p:txBody>
      </p:sp>
      <p:sp>
        <p:nvSpPr>
          <p:cNvPr id="5" name="Fußzeilenplatzhalter 4">
            <a:extLst>
              <a:ext uri="{FF2B5EF4-FFF2-40B4-BE49-F238E27FC236}">
                <a16:creationId xmlns:a16="http://schemas.microsoft.com/office/drawing/2014/main" id="{666BC292-D0DA-4C60-93E2-D1A8A205B5FF}"/>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7" name="Foliennummernplatzhalter 6">
            <a:extLst>
              <a:ext uri="{FF2B5EF4-FFF2-40B4-BE49-F238E27FC236}">
                <a16:creationId xmlns:a16="http://schemas.microsoft.com/office/drawing/2014/main" id="{5C59FDB1-2FCE-4373-9E41-7EF40CF98247}"/>
              </a:ext>
            </a:extLst>
          </p:cNvPr>
          <p:cNvSpPr>
            <a:spLocks noGrp="1"/>
          </p:cNvSpPr>
          <p:nvPr>
            <p:ph type="sldNum" sz="quarter" idx="11"/>
          </p:nvPr>
        </p:nvSpPr>
        <p:spPr/>
        <p:txBody>
          <a:bodyPr/>
          <a:lstStyle/>
          <a:p>
            <a:r>
              <a:rPr lang="en-US"/>
              <a:t>Page </a:t>
            </a:r>
            <a:fld id="{15EBE321-CBB1-4E91-BD14-37C8D44326FB}" type="slidenum">
              <a:rPr lang="en-US" smtClean="0"/>
              <a:pPr/>
              <a:t>6</a:t>
            </a:fld>
            <a:endParaRPr lang="en-US" dirty="0"/>
          </a:p>
        </p:txBody>
      </p:sp>
    </p:spTree>
    <p:extLst>
      <p:ext uri="{BB962C8B-B14F-4D97-AF65-F5344CB8AC3E}">
        <p14:creationId xmlns:p14="http://schemas.microsoft.com/office/powerpoint/2010/main" val="3867953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animEffect transition="in" filter="fade">
                                      <p:cBhvr>
                                        <p:cTn id="7" dur="500"/>
                                        <p:tgtEl>
                                          <p:spTgt spid="6">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2" end="2"/>
                                            </p:txEl>
                                          </p:spTgt>
                                        </p:tgtEl>
                                        <p:attrNameLst>
                                          <p:attrName>style.visibility</p:attrName>
                                        </p:attrNameLst>
                                      </p:cBhvr>
                                      <p:to>
                                        <p:strVal val="visible"/>
                                      </p:to>
                                    </p:set>
                                    <p:animEffect transition="in" filter="fade">
                                      <p:cBhvr>
                                        <p:cTn id="12" dur="500"/>
                                        <p:tgtEl>
                                          <p:spTgt spid="6">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6">
                                            <p:txEl>
                                              <p:pRg st="3" end="3"/>
                                            </p:txEl>
                                          </p:spTgt>
                                        </p:tgtEl>
                                        <p:attrNameLst>
                                          <p:attrName>style.visibility</p:attrName>
                                        </p:attrNameLst>
                                      </p:cBhvr>
                                      <p:to>
                                        <p:strVal val="visible"/>
                                      </p:to>
                                    </p:set>
                                    <p:animEffect transition="in" filter="fade">
                                      <p:cBhvr>
                                        <p:cTn id="17" dur="1000"/>
                                        <p:tgtEl>
                                          <p:spTgt spid="6">
                                            <p:txEl>
                                              <p:pRg st="3" end="3"/>
                                            </p:txEl>
                                          </p:spTgt>
                                        </p:tgtEl>
                                      </p:cBhvr>
                                    </p:animEffect>
                                    <p:anim calcmode="lin" valueType="num">
                                      <p:cBhvr>
                                        <p:cTn id="18" dur="1000" fill="hold"/>
                                        <p:tgtEl>
                                          <p:spTgt spid="6">
                                            <p:txEl>
                                              <p:pRg st="3" end="3"/>
                                            </p:txEl>
                                          </p:spTgt>
                                        </p:tgtEl>
                                        <p:attrNameLst>
                                          <p:attrName>ppt_x</p:attrName>
                                        </p:attrNameLst>
                                      </p:cBhvr>
                                      <p:tavLst>
                                        <p:tav tm="0">
                                          <p:val>
                                            <p:strVal val="#ppt_x"/>
                                          </p:val>
                                        </p:tav>
                                        <p:tav tm="100000">
                                          <p:val>
                                            <p:strVal val="#ppt_x"/>
                                          </p:val>
                                        </p:tav>
                                      </p:tavLst>
                                    </p:anim>
                                    <p:anim calcmode="lin" valueType="num">
                                      <p:cBhvr>
                                        <p:cTn id="19" dur="1000" fill="hold"/>
                                        <p:tgtEl>
                                          <p:spTgt spid="6">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6">
                                            <p:txEl>
                                              <p:pRg st="5" end="5"/>
                                            </p:txEl>
                                          </p:spTgt>
                                        </p:tgtEl>
                                        <p:attrNameLst>
                                          <p:attrName>style.visibility</p:attrName>
                                        </p:attrNameLst>
                                      </p:cBhvr>
                                      <p:to>
                                        <p:strVal val="visible"/>
                                      </p:to>
                                    </p:set>
                                    <p:animEffect transition="in" filter="fade">
                                      <p:cBhvr>
                                        <p:cTn id="24" dur="500"/>
                                        <p:tgtEl>
                                          <p:spTgt spid="6">
                                            <p:txEl>
                                              <p:pRg st="5" end="5"/>
                                            </p:txEl>
                                          </p:spTgt>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6">
                                            <p:txEl>
                                              <p:pRg st="6" end="6"/>
                                            </p:txEl>
                                          </p:spTgt>
                                        </p:tgtEl>
                                        <p:attrNameLst>
                                          <p:attrName>style.visibility</p:attrName>
                                        </p:attrNameLst>
                                      </p:cBhvr>
                                      <p:to>
                                        <p:strVal val="visible"/>
                                      </p:to>
                                    </p:set>
                                    <p:animEffect transition="in" filter="fade">
                                      <p:cBhvr>
                                        <p:cTn id="29" dur="1000"/>
                                        <p:tgtEl>
                                          <p:spTgt spid="6">
                                            <p:txEl>
                                              <p:pRg st="6" end="6"/>
                                            </p:txEl>
                                          </p:spTgt>
                                        </p:tgtEl>
                                      </p:cBhvr>
                                    </p:animEffect>
                                    <p:anim calcmode="lin" valueType="num">
                                      <p:cBhvr>
                                        <p:cTn id="30" dur="1000" fill="hold"/>
                                        <p:tgtEl>
                                          <p:spTgt spid="6">
                                            <p:txEl>
                                              <p:pRg st="6" end="6"/>
                                            </p:txEl>
                                          </p:spTgt>
                                        </p:tgtEl>
                                        <p:attrNameLst>
                                          <p:attrName>ppt_x</p:attrName>
                                        </p:attrNameLst>
                                      </p:cBhvr>
                                      <p:tavLst>
                                        <p:tav tm="0">
                                          <p:val>
                                            <p:strVal val="#ppt_x"/>
                                          </p:val>
                                        </p:tav>
                                        <p:tav tm="100000">
                                          <p:val>
                                            <p:strVal val="#ppt_x"/>
                                          </p:val>
                                        </p:tav>
                                      </p:tavLst>
                                    </p:anim>
                                    <p:anim calcmode="lin" valueType="num">
                                      <p:cBhvr>
                                        <p:cTn id="31" dur="1000" fill="hold"/>
                                        <p:tgtEl>
                                          <p:spTgt spid="6">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D84CD4-E3CD-4CFC-99D8-D2B7AA7F6B20}"/>
              </a:ext>
            </a:extLst>
          </p:cNvPr>
          <p:cNvSpPr>
            <a:spLocks noGrp="1"/>
          </p:cNvSpPr>
          <p:nvPr>
            <p:ph type="title"/>
          </p:nvPr>
        </p:nvSpPr>
        <p:spPr/>
        <p:txBody>
          <a:bodyPr/>
          <a:lstStyle/>
          <a:p>
            <a:r>
              <a:rPr lang="de-DE" dirty="0"/>
              <a:t>SIGUARD PDP</a:t>
            </a:r>
            <a:br>
              <a:rPr lang="de-DE" dirty="0"/>
            </a:br>
            <a:r>
              <a:rPr lang="de-DE" dirty="0"/>
              <a:t>Components</a:t>
            </a:r>
            <a:endParaRPr lang="en-US" dirty="0"/>
          </a:p>
        </p:txBody>
      </p:sp>
      <p:sp>
        <p:nvSpPr>
          <p:cNvPr id="3" name="Inhaltsplatzhalter 3">
            <a:extLst>
              <a:ext uri="{FF2B5EF4-FFF2-40B4-BE49-F238E27FC236}">
                <a16:creationId xmlns:a16="http://schemas.microsoft.com/office/drawing/2014/main" id="{C484DDAD-804F-42F1-9DBD-91442189A9C7}"/>
              </a:ext>
            </a:extLst>
          </p:cNvPr>
          <p:cNvSpPr txBox="1">
            <a:spLocks/>
          </p:cNvSpPr>
          <p:nvPr/>
        </p:nvSpPr>
        <p:spPr>
          <a:xfrm>
            <a:off x="626737" y="1413925"/>
            <a:ext cx="9931435" cy="4750501"/>
          </a:xfrm>
          <a:prstGeom prst="rect">
            <a:avLst/>
          </a:prstGeom>
        </p:spPr>
        <p:txBody>
          <a:bodyPr lIns="0" tIns="0" rIns="107944"/>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buFont typeface="Arial" panose="020B0604020202020204" pitchFamily="34" charset="0"/>
              <a:buChar char="•"/>
            </a:pPr>
            <a:r>
              <a:rPr lang="en-US" sz="1799" b="1" kern="0" dirty="0"/>
              <a:t>Fully integrated</a:t>
            </a:r>
          </a:p>
          <a:p>
            <a:pPr marL="644203" lvl="2" indent="-285607">
              <a:buFont typeface="Arial" panose="020B0604020202020204" pitchFamily="34" charset="0"/>
              <a:buChar char="•"/>
            </a:pPr>
            <a:r>
              <a:rPr lang="en-US" sz="1799" kern="0" dirty="0"/>
              <a:t>All functions needed for all use cases are integrated in SIGUARD PDP:</a:t>
            </a:r>
          </a:p>
          <a:p>
            <a:pPr marL="1002798" lvl="4" indent="-285607">
              <a:buFont typeface="Arial" panose="020B0604020202020204" pitchFamily="34" charset="0"/>
              <a:buChar char="•"/>
            </a:pPr>
            <a:r>
              <a:rPr lang="en-US" sz="1799" kern="0" dirty="0"/>
              <a:t>Phasor data concentrator</a:t>
            </a:r>
          </a:p>
          <a:p>
            <a:pPr marL="1002798" lvl="4" indent="-285607">
              <a:buFont typeface="Arial" panose="020B0604020202020204" pitchFamily="34" charset="0"/>
              <a:buChar char="•"/>
            </a:pPr>
            <a:r>
              <a:rPr lang="en-US" sz="1799" kern="0" dirty="0"/>
              <a:t>Integrated </a:t>
            </a:r>
            <a:r>
              <a:rPr lang="en-US" sz="1799" i="1" kern="0" dirty="0"/>
              <a:t>online archive </a:t>
            </a:r>
            <a:r>
              <a:rPr lang="en-US" sz="1799" kern="0" dirty="0"/>
              <a:t>solution supporting fast time series data handling</a:t>
            </a:r>
          </a:p>
          <a:p>
            <a:pPr marL="1002798" lvl="4" indent="-285607">
              <a:buFont typeface="Arial" panose="020B0604020202020204" pitchFamily="34" charset="0"/>
              <a:buChar char="•"/>
            </a:pPr>
            <a:r>
              <a:rPr lang="en-US" sz="1799" kern="0" dirty="0"/>
              <a:t>Support for </a:t>
            </a:r>
            <a:r>
              <a:rPr lang="en-US" sz="1799" i="1" kern="0" dirty="0"/>
              <a:t>offline archive </a:t>
            </a:r>
            <a:r>
              <a:rPr lang="en-US" sz="1799" kern="0" dirty="0"/>
              <a:t>for cost-efficient long term storage and backup on LTO tapes</a:t>
            </a:r>
          </a:p>
          <a:p>
            <a:pPr marL="1002798" lvl="4" indent="-285607">
              <a:buFont typeface="Arial" panose="020B0604020202020204" pitchFamily="34" charset="0"/>
              <a:buChar char="•"/>
            </a:pPr>
            <a:r>
              <a:rPr lang="en-US" sz="1799" kern="0" dirty="0"/>
              <a:t>User Interface</a:t>
            </a:r>
          </a:p>
          <a:p>
            <a:pPr marL="1505785" lvl="5" indent="-285607">
              <a:buFont typeface="Arial" panose="020B0604020202020204" pitchFamily="34" charset="0"/>
              <a:buChar char="•"/>
            </a:pPr>
            <a:r>
              <a:rPr lang="en-US" sz="1799" kern="0" dirty="0"/>
              <a:t>Designed for both </a:t>
            </a:r>
            <a:r>
              <a:rPr lang="en-US" sz="1799" i="1" kern="0" dirty="0"/>
              <a:t>real-time observation </a:t>
            </a:r>
            <a:r>
              <a:rPr lang="en-US" sz="1799" kern="0" dirty="0"/>
              <a:t>and </a:t>
            </a:r>
            <a:r>
              <a:rPr lang="en-US" sz="1799" i="1" kern="0" dirty="0"/>
              <a:t>archive based analysis </a:t>
            </a:r>
            <a:r>
              <a:rPr lang="en-US" sz="1799" kern="0" dirty="0"/>
              <a:t>use cases</a:t>
            </a:r>
          </a:p>
          <a:p>
            <a:pPr marL="1505785" lvl="5" indent="-285607">
              <a:buFont typeface="Arial" panose="020B0604020202020204" pitchFamily="34" charset="0"/>
              <a:buChar char="•"/>
            </a:pPr>
            <a:r>
              <a:rPr lang="en-US" sz="1799" i="1" kern="0" dirty="0"/>
              <a:t>Power System Status </a:t>
            </a:r>
            <a:r>
              <a:rPr lang="en-US" sz="1799" kern="0" dirty="0"/>
              <a:t>curve to get aware on system state at first glance</a:t>
            </a:r>
          </a:p>
          <a:p>
            <a:pPr marL="1505785" lvl="5" indent="-285607">
              <a:buFont typeface="Arial" panose="020B0604020202020204" pitchFamily="34" charset="0"/>
              <a:buChar char="•"/>
            </a:pPr>
            <a:r>
              <a:rPr lang="en-US" sz="1799" i="1" kern="0" dirty="0"/>
              <a:t>Geographic representation </a:t>
            </a:r>
            <a:r>
              <a:rPr lang="en-US" sz="1799" kern="0" dirty="0"/>
              <a:t>of power system with visual alarming, application result visualization, and voltage contour</a:t>
            </a:r>
          </a:p>
          <a:p>
            <a:pPr marL="1505785" lvl="5" indent="-285607">
              <a:buFont typeface="Arial" panose="020B0604020202020204" pitchFamily="34" charset="0"/>
              <a:buChar char="•"/>
            </a:pPr>
            <a:r>
              <a:rPr lang="en-US" sz="1799" kern="0" dirty="0"/>
              <a:t>Flexible </a:t>
            </a:r>
            <a:r>
              <a:rPr lang="en-US" sz="1799" i="1" kern="0" dirty="0"/>
              <a:t>Chart Areas </a:t>
            </a:r>
            <a:r>
              <a:rPr lang="en-US" sz="1799" kern="0" dirty="0"/>
              <a:t>for detailed analysis of time series and phasor data</a:t>
            </a:r>
          </a:p>
          <a:p>
            <a:pPr marL="1505785" lvl="5" indent="-285607">
              <a:buFont typeface="Arial" panose="020B0604020202020204" pitchFamily="34" charset="0"/>
              <a:buChar char="•"/>
            </a:pPr>
            <a:r>
              <a:rPr lang="en-US" sz="1799" kern="0" dirty="0"/>
              <a:t>Filterable </a:t>
            </a:r>
            <a:r>
              <a:rPr lang="en-US" sz="1799" i="1" kern="0" dirty="0"/>
              <a:t>Alarm Lists </a:t>
            </a:r>
            <a:r>
              <a:rPr lang="en-US" sz="1799" kern="0" dirty="0"/>
              <a:t>and </a:t>
            </a:r>
            <a:r>
              <a:rPr lang="en-US" sz="1799" i="1" kern="0" dirty="0"/>
              <a:t>Event Lists</a:t>
            </a:r>
          </a:p>
          <a:p>
            <a:pPr marL="1505785" lvl="5" indent="-285607">
              <a:buFont typeface="Arial" panose="020B0604020202020204" pitchFamily="34" charset="0"/>
              <a:buChar char="•"/>
            </a:pPr>
            <a:r>
              <a:rPr lang="en-US" sz="1799" kern="0" dirty="0"/>
              <a:t>Application specific representations (e.g. </a:t>
            </a:r>
            <a:r>
              <a:rPr lang="en-US" sz="1799" i="1" kern="0" dirty="0"/>
              <a:t>Power Swing Overview</a:t>
            </a:r>
            <a:r>
              <a:rPr lang="en-US" sz="1799" kern="0" dirty="0"/>
              <a:t>)</a:t>
            </a:r>
          </a:p>
          <a:p>
            <a:pPr marL="1505785" lvl="5" indent="-285607">
              <a:buFont typeface="Arial" panose="020B0604020202020204" pitchFamily="34" charset="0"/>
              <a:buChar char="•"/>
            </a:pPr>
            <a:r>
              <a:rPr lang="en-US" sz="1799" kern="0" dirty="0"/>
              <a:t>User defined layout for different use cases, save and recall as </a:t>
            </a:r>
            <a:r>
              <a:rPr lang="en-US" sz="1799" i="1" kern="0" dirty="0"/>
              <a:t>Favorite</a:t>
            </a:r>
          </a:p>
          <a:p>
            <a:pPr marL="1505785" lvl="5" indent="-285607">
              <a:buFont typeface="Arial" panose="020B0604020202020204" pitchFamily="34" charset="0"/>
              <a:buChar char="•"/>
            </a:pPr>
            <a:r>
              <a:rPr lang="en-US" sz="1799" i="1" kern="0" dirty="0"/>
              <a:t>Multi-monitor support </a:t>
            </a:r>
            <a:r>
              <a:rPr lang="en-US" sz="1799" kern="0" dirty="0"/>
              <a:t>by freely positionable modules</a:t>
            </a:r>
          </a:p>
        </p:txBody>
      </p:sp>
      <p:sp>
        <p:nvSpPr>
          <p:cNvPr id="4" name="Fußzeilenplatzhalter 3">
            <a:extLst>
              <a:ext uri="{FF2B5EF4-FFF2-40B4-BE49-F238E27FC236}">
                <a16:creationId xmlns:a16="http://schemas.microsoft.com/office/drawing/2014/main" id="{5BFD1C6E-43A7-42F2-BC0F-841F7A192E82}"/>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B5A27CF0-ECFD-45EF-9E40-9006D3F38BA6}"/>
              </a:ext>
            </a:extLst>
          </p:cNvPr>
          <p:cNvSpPr>
            <a:spLocks noGrp="1"/>
          </p:cNvSpPr>
          <p:nvPr>
            <p:ph type="sldNum" sz="quarter" idx="11"/>
          </p:nvPr>
        </p:nvSpPr>
        <p:spPr/>
        <p:txBody>
          <a:bodyPr/>
          <a:lstStyle/>
          <a:p>
            <a:r>
              <a:rPr lang="en-US"/>
              <a:t>Page </a:t>
            </a:r>
            <a:fld id="{15EBE321-CBB1-4E91-BD14-37C8D44326FB}" type="slidenum">
              <a:rPr lang="en-US" smtClean="0"/>
              <a:pPr/>
              <a:t>7</a:t>
            </a:fld>
            <a:endParaRPr lang="en-US" dirty="0"/>
          </a:p>
        </p:txBody>
      </p:sp>
    </p:spTree>
    <p:extLst>
      <p:ext uri="{BB962C8B-B14F-4D97-AF65-F5344CB8AC3E}">
        <p14:creationId xmlns:p14="http://schemas.microsoft.com/office/powerpoint/2010/main" val="2039690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Effect transition="in" filter="fade">
                                      <p:cBhvr>
                                        <p:cTn id="37" dur="500"/>
                                        <p:tgtEl>
                                          <p:spTgt spid="3">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fade">
                                      <p:cBhvr>
                                        <p:cTn id="42" dur="500"/>
                                        <p:tgtEl>
                                          <p:spTgt spid="3">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fade">
                                      <p:cBhvr>
                                        <p:cTn id="52" dur="500"/>
                                        <p:tgtEl>
                                          <p:spTgt spid="3">
                                            <p:txEl>
                                              <p:pRg st="11" end="11"/>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2" end="12"/>
                                            </p:txEl>
                                          </p:spTgt>
                                        </p:tgtEl>
                                        <p:attrNameLst>
                                          <p:attrName>style.visibility</p:attrName>
                                        </p:attrNameLst>
                                      </p:cBhvr>
                                      <p:to>
                                        <p:strVal val="visible"/>
                                      </p:to>
                                    </p:set>
                                    <p:animEffect transition="in" filter="fade">
                                      <p:cBhvr>
                                        <p:cTn id="57" dur="500"/>
                                        <p:tgtEl>
                                          <p:spTgt spid="3">
                                            <p:txEl>
                                              <p:pRg st="12" end="12"/>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nodeType="clickEffect">
                                  <p:stCondLst>
                                    <p:cond delay="0"/>
                                  </p:stCondLst>
                                  <p:childTnLst>
                                    <p:set>
                                      <p:cBhvr>
                                        <p:cTn id="61" dur="1" fill="hold">
                                          <p:stCondLst>
                                            <p:cond delay="0"/>
                                          </p:stCondLst>
                                        </p:cTn>
                                        <p:tgtEl>
                                          <p:spTgt spid="3">
                                            <p:txEl>
                                              <p:pRg st="13" end="13"/>
                                            </p:txEl>
                                          </p:spTgt>
                                        </p:tgtEl>
                                        <p:attrNameLst>
                                          <p:attrName>style.visibility</p:attrName>
                                        </p:attrNameLst>
                                      </p:cBhvr>
                                      <p:to>
                                        <p:strVal val="visible"/>
                                      </p:to>
                                    </p:set>
                                    <p:animEffect transition="in" filter="fade">
                                      <p:cBhvr>
                                        <p:cTn id="62"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D84CD4-E3CD-4CFC-99D8-D2B7AA7F6B20}"/>
              </a:ext>
            </a:extLst>
          </p:cNvPr>
          <p:cNvSpPr>
            <a:spLocks noGrp="1"/>
          </p:cNvSpPr>
          <p:nvPr>
            <p:ph type="title"/>
          </p:nvPr>
        </p:nvSpPr>
        <p:spPr/>
        <p:txBody>
          <a:bodyPr/>
          <a:lstStyle/>
          <a:p>
            <a:r>
              <a:rPr lang="de-DE" dirty="0"/>
              <a:t>SIGUARD PDP</a:t>
            </a:r>
            <a:br>
              <a:rPr lang="de-DE" dirty="0"/>
            </a:br>
            <a:r>
              <a:rPr lang="de-DE" dirty="0"/>
              <a:t>Components</a:t>
            </a:r>
            <a:endParaRPr lang="en-US" dirty="0"/>
          </a:p>
        </p:txBody>
      </p:sp>
      <p:sp>
        <p:nvSpPr>
          <p:cNvPr id="3" name="Inhaltsplatzhalter 3">
            <a:extLst>
              <a:ext uri="{FF2B5EF4-FFF2-40B4-BE49-F238E27FC236}">
                <a16:creationId xmlns:a16="http://schemas.microsoft.com/office/drawing/2014/main" id="{C484DDAD-804F-42F1-9DBD-91442189A9C7}"/>
              </a:ext>
            </a:extLst>
          </p:cNvPr>
          <p:cNvSpPr txBox="1">
            <a:spLocks/>
          </p:cNvSpPr>
          <p:nvPr/>
        </p:nvSpPr>
        <p:spPr>
          <a:xfrm>
            <a:off x="626737" y="1413925"/>
            <a:ext cx="10069838" cy="4750501"/>
          </a:xfrm>
          <a:prstGeom prst="rect">
            <a:avLst/>
          </a:prstGeom>
        </p:spPr>
        <p:txBody>
          <a:bodyPr lIns="0" tIns="0" rIns="107944"/>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buFont typeface="Arial" panose="020B0604020202020204" pitchFamily="34" charset="0"/>
              <a:buChar char="•"/>
            </a:pPr>
            <a:r>
              <a:rPr lang="en-US" sz="1799" b="1" kern="0" dirty="0"/>
              <a:t>Fully integrated</a:t>
            </a:r>
          </a:p>
          <a:p>
            <a:pPr marL="644203" lvl="2" indent="-285607">
              <a:buFont typeface="Arial" panose="020B0604020202020204" pitchFamily="34" charset="0"/>
              <a:buChar char="•"/>
            </a:pPr>
            <a:r>
              <a:rPr lang="en-US" sz="1799" kern="0" dirty="0"/>
              <a:t>All functions needed for all use cases are integrated in SIGUARD PDP:</a:t>
            </a:r>
          </a:p>
          <a:p>
            <a:pPr marL="1002798" lvl="4" indent="-285607">
              <a:buFont typeface="Arial" panose="020B0604020202020204" pitchFamily="34" charset="0"/>
              <a:buChar char="•"/>
            </a:pPr>
            <a:r>
              <a:rPr lang="en-US" sz="1799" kern="0" dirty="0"/>
              <a:t>Protocol conversion for integration into other IT systems:</a:t>
            </a:r>
          </a:p>
          <a:p>
            <a:pPr marL="1505785" lvl="5" indent="-285607">
              <a:buFont typeface="Arial" panose="020B0604020202020204" pitchFamily="34" charset="0"/>
              <a:buChar char="•"/>
            </a:pPr>
            <a:r>
              <a:rPr lang="en-US" sz="1799" kern="0" dirty="0"/>
              <a:t>Forwarding of PMU data to other PDC (</a:t>
            </a:r>
            <a:r>
              <a:rPr lang="en-US" sz="1799" i="1" kern="0" dirty="0"/>
              <a:t>IEEE C37.118</a:t>
            </a:r>
            <a:r>
              <a:rPr lang="en-US" sz="1799" kern="0" dirty="0"/>
              <a:t>)</a:t>
            </a:r>
          </a:p>
          <a:p>
            <a:pPr marL="1505785" lvl="5" indent="-285607">
              <a:buFont typeface="Arial" panose="020B0604020202020204" pitchFamily="34" charset="0"/>
              <a:buChar char="•"/>
            </a:pPr>
            <a:r>
              <a:rPr lang="en-US" sz="1799" kern="0" dirty="0"/>
              <a:t>Forwarding essential information to SCADA/EMS/DMS (</a:t>
            </a:r>
            <a:r>
              <a:rPr lang="en-US" sz="1799" i="1" kern="0" dirty="0"/>
              <a:t>IEC 60870-5-104, ICCP Tase.2</a:t>
            </a:r>
            <a:r>
              <a:rPr lang="en-US" sz="1799" kern="0" dirty="0"/>
              <a:t>)</a:t>
            </a:r>
          </a:p>
          <a:p>
            <a:pPr marL="1505785" lvl="5" indent="-285607">
              <a:buFont typeface="Arial" panose="020B0604020202020204" pitchFamily="34" charset="0"/>
              <a:buChar char="•"/>
            </a:pPr>
            <a:r>
              <a:rPr lang="en-US" sz="1799" kern="0" dirty="0"/>
              <a:t>Forwarding to automation systems (</a:t>
            </a:r>
            <a:r>
              <a:rPr lang="en-US" sz="1799" i="1" kern="0" dirty="0"/>
              <a:t>OPC DA</a:t>
            </a:r>
            <a:r>
              <a:rPr lang="en-US" sz="1799" kern="0" dirty="0"/>
              <a:t>)</a:t>
            </a:r>
          </a:p>
          <a:p>
            <a:pPr marL="1505785" lvl="5" indent="-285607">
              <a:buFont typeface="Arial" panose="020B0604020202020204" pitchFamily="34" charset="0"/>
              <a:buChar char="•"/>
            </a:pPr>
            <a:r>
              <a:rPr lang="en-US" sz="1799" kern="0" dirty="0"/>
              <a:t>Alarming of administrators or expert users via email (</a:t>
            </a:r>
            <a:r>
              <a:rPr lang="en-US" sz="1799" i="1" kern="0" dirty="0"/>
              <a:t>SNMP</a:t>
            </a:r>
            <a:r>
              <a:rPr lang="en-US" sz="1799" kern="0" dirty="0"/>
              <a:t>)</a:t>
            </a:r>
          </a:p>
          <a:p>
            <a:pPr marL="1002798" lvl="4" indent="-285607">
              <a:buFont typeface="Arial" panose="020B0604020202020204" pitchFamily="34" charset="0"/>
              <a:buChar char="•"/>
            </a:pPr>
            <a:r>
              <a:rPr lang="en-US" sz="1799" kern="0" dirty="0"/>
              <a:t>Applications:</a:t>
            </a:r>
          </a:p>
          <a:p>
            <a:pPr marL="1505785" lvl="5" indent="-285607">
              <a:buFont typeface="Arial" panose="020B0604020202020204" pitchFamily="34" charset="0"/>
              <a:buChar char="•"/>
            </a:pPr>
            <a:r>
              <a:rPr lang="en-US" sz="1799" i="1" kern="0" dirty="0"/>
              <a:t>Island State Detection </a:t>
            </a:r>
            <a:r>
              <a:rPr lang="en-US" sz="1799" kern="0" dirty="0"/>
              <a:t>based on power frequency</a:t>
            </a:r>
          </a:p>
          <a:p>
            <a:pPr marL="1505785" lvl="5" indent="-285607">
              <a:buFont typeface="Arial" panose="020B0604020202020204" pitchFamily="34" charset="0"/>
              <a:buChar char="•"/>
            </a:pPr>
            <a:r>
              <a:rPr lang="en-US" sz="1799" i="1" kern="0" dirty="0"/>
              <a:t>Power Swing Recognition </a:t>
            </a:r>
            <a:r>
              <a:rPr lang="en-US" sz="1799" kern="0" dirty="0"/>
              <a:t>based on active power of voltage phase angle difference</a:t>
            </a:r>
          </a:p>
          <a:p>
            <a:pPr marL="1505785" lvl="5" indent="-285607">
              <a:buFont typeface="Arial" panose="020B0604020202020204" pitchFamily="34" charset="0"/>
              <a:buChar char="•"/>
            </a:pPr>
            <a:r>
              <a:rPr lang="en-US" sz="1799" i="1" kern="0" dirty="0"/>
              <a:t>Short Circuit Detection </a:t>
            </a:r>
            <a:r>
              <a:rPr lang="en-US" sz="1799" kern="0" dirty="0"/>
              <a:t>based on typical patterns of voltage and current</a:t>
            </a:r>
          </a:p>
          <a:p>
            <a:pPr marL="1505785" lvl="5" indent="-285607">
              <a:buFont typeface="Arial" panose="020B0604020202020204" pitchFamily="34" charset="0"/>
              <a:buChar char="•"/>
            </a:pPr>
            <a:r>
              <a:rPr lang="en-US" sz="1799" i="1" kern="0" dirty="0"/>
              <a:t>Generation or Demand Loss detection </a:t>
            </a:r>
            <a:r>
              <a:rPr lang="en-US" sz="1799" kern="0" dirty="0"/>
              <a:t>based on typical pattern of power frequency</a:t>
            </a:r>
          </a:p>
          <a:p>
            <a:pPr marL="1505785" lvl="5" indent="-285607">
              <a:buFont typeface="Arial" panose="020B0604020202020204" pitchFamily="34" charset="0"/>
              <a:buChar char="•"/>
            </a:pPr>
            <a:r>
              <a:rPr lang="en-US" sz="1799" i="1" kern="0" dirty="0"/>
              <a:t>Voltage Stability Curves, P</a:t>
            </a:r>
            <a:r>
              <a:rPr lang="en-US" sz="1799" kern="0" dirty="0"/>
              <a:t>-</a:t>
            </a:r>
            <a:r>
              <a:rPr lang="en-US" sz="1799" i="1" kern="0" dirty="0"/>
              <a:t>V</a:t>
            </a:r>
            <a:r>
              <a:rPr lang="en-US" sz="1799" kern="0" dirty="0"/>
              <a:t>-Diagrams</a:t>
            </a:r>
          </a:p>
        </p:txBody>
      </p:sp>
      <p:sp>
        <p:nvSpPr>
          <p:cNvPr id="4" name="Fußzeilenplatzhalter 3">
            <a:extLst>
              <a:ext uri="{FF2B5EF4-FFF2-40B4-BE49-F238E27FC236}">
                <a16:creationId xmlns:a16="http://schemas.microsoft.com/office/drawing/2014/main" id="{7528E494-4140-4459-B6DF-C579E868198D}"/>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C204E2C0-1F74-4956-83C7-32FA76C943DD}"/>
              </a:ext>
            </a:extLst>
          </p:cNvPr>
          <p:cNvSpPr>
            <a:spLocks noGrp="1"/>
          </p:cNvSpPr>
          <p:nvPr>
            <p:ph type="sldNum" sz="quarter" idx="11"/>
          </p:nvPr>
        </p:nvSpPr>
        <p:spPr/>
        <p:txBody>
          <a:bodyPr/>
          <a:lstStyle/>
          <a:p>
            <a:r>
              <a:rPr lang="en-US"/>
              <a:t>Page </a:t>
            </a:r>
            <a:fld id="{15EBE321-CBB1-4E91-BD14-37C8D44326FB}" type="slidenum">
              <a:rPr lang="en-US" smtClean="0"/>
              <a:pPr/>
              <a:t>8</a:t>
            </a:fld>
            <a:endParaRPr lang="en-US" dirty="0"/>
          </a:p>
        </p:txBody>
      </p:sp>
    </p:spTree>
    <p:extLst>
      <p:ext uri="{BB962C8B-B14F-4D97-AF65-F5344CB8AC3E}">
        <p14:creationId xmlns:p14="http://schemas.microsoft.com/office/powerpoint/2010/main" val="9976717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Effect transition="in" filter="fade">
                                      <p:cBhvr>
                                        <p:cTn id="37" dur="500"/>
                                        <p:tgtEl>
                                          <p:spTgt spid="3">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fade">
                                      <p:cBhvr>
                                        <p:cTn id="42" dur="500"/>
                                        <p:tgtEl>
                                          <p:spTgt spid="3">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3">
                                            <p:txEl>
                                              <p:pRg st="11" end="11"/>
                                            </p:txEl>
                                          </p:spTgt>
                                        </p:tgtEl>
                                        <p:attrNameLst>
                                          <p:attrName>style.visibility</p:attrName>
                                        </p:attrNameLst>
                                      </p:cBhvr>
                                      <p:to>
                                        <p:strVal val="visible"/>
                                      </p:to>
                                    </p:set>
                                    <p:animEffect transition="in" filter="fade">
                                      <p:cBhvr>
                                        <p:cTn id="52" dur="500"/>
                                        <p:tgtEl>
                                          <p:spTgt spid="3">
                                            <p:txEl>
                                              <p:pRg st="11" end="11"/>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3">
                                            <p:txEl>
                                              <p:pRg st="12" end="12"/>
                                            </p:txEl>
                                          </p:spTgt>
                                        </p:tgtEl>
                                        <p:attrNameLst>
                                          <p:attrName>style.visibility</p:attrName>
                                        </p:attrNameLst>
                                      </p:cBhvr>
                                      <p:to>
                                        <p:strVal val="visible"/>
                                      </p:to>
                                    </p:set>
                                    <p:animEffect transition="in" filter="fade">
                                      <p:cBhvr>
                                        <p:cTn id="57"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BD84CD4-E3CD-4CFC-99D8-D2B7AA7F6B20}"/>
              </a:ext>
            </a:extLst>
          </p:cNvPr>
          <p:cNvSpPr>
            <a:spLocks noGrp="1"/>
          </p:cNvSpPr>
          <p:nvPr>
            <p:ph type="title"/>
          </p:nvPr>
        </p:nvSpPr>
        <p:spPr/>
        <p:txBody>
          <a:bodyPr/>
          <a:lstStyle/>
          <a:p>
            <a:r>
              <a:rPr lang="de-DE" dirty="0"/>
              <a:t>SIGUARD PDP</a:t>
            </a:r>
            <a:br>
              <a:rPr lang="de-DE" dirty="0"/>
            </a:br>
            <a:r>
              <a:rPr lang="de-DE" dirty="0"/>
              <a:t>Components</a:t>
            </a:r>
            <a:endParaRPr lang="en-US" dirty="0"/>
          </a:p>
        </p:txBody>
      </p:sp>
      <p:sp>
        <p:nvSpPr>
          <p:cNvPr id="3" name="Inhaltsplatzhalter 3">
            <a:extLst>
              <a:ext uri="{FF2B5EF4-FFF2-40B4-BE49-F238E27FC236}">
                <a16:creationId xmlns:a16="http://schemas.microsoft.com/office/drawing/2014/main" id="{C484DDAD-804F-42F1-9DBD-91442189A9C7}"/>
              </a:ext>
            </a:extLst>
          </p:cNvPr>
          <p:cNvSpPr txBox="1">
            <a:spLocks/>
          </p:cNvSpPr>
          <p:nvPr/>
        </p:nvSpPr>
        <p:spPr>
          <a:xfrm>
            <a:off x="626737" y="1413925"/>
            <a:ext cx="9931435" cy="4750501"/>
          </a:xfrm>
          <a:prstGeom prst="rect">
            <a:avLst/>
          </a:prstGeom>
        </p:spPr>
        <p:txBody>
          <a:bodyPr lIns="0" tIns="0" rIns="107944"/>
          <a:lstStyle>
            <a:lvl1pPr marL="0" indent="0" algn="l" rtl="0" eaLnBrk="1" fontAlgn="base" hangingPunct="1">
              <a:lnSpc>
                <a:spcPct val="110000"/>
              </a:lnSpc>
              <a:spcBef>
                <a:spcPct val="0"/>
              </a:spcBef>
              <a:spcAft>
                <a:spcPct val="0"/>
              </a:spcAft>
              <a:buClr>
                <a:schemeClr val="accent1"/>
              </a:buClr>
              <a:buFont typeface="Arial" pitchFamily="34" charset="0"/>
              <a:buNone/>
              <a:tabLst/>
              <a:defRPr>
                <a:solidFill>
                  <a:schemeClr val="tx1"/>
                </a:solidFill>
                <a:latin typeface="Arial" pitchFamily="34" charset="0"/>
                <a:ea typeface="+mn-ea"/>
                <a:cs typeface="Arial" pitchFamily="34" charset="0"/>
              </a:defRPr>
            </a:lvl1pPr>
            <a:lvl2pPr marL="179388"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2pPr>
            <a:lvl3pPr marL="358775"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3pPr>
            <a:lvl4pPr marL="538163"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4pPr>
            <a:lvl5pPr marL="717550" indent="-177800" algn="l" rtl="0" eaLnBrk="1" fontAlgn="base" hangingPunct="1">
              <a:lnSpc>
                <a:spcPct val="110000"/>
              </a:lnSpc>
              <a:spcBef>
                <a:spcPct val="0"/>
              </a:spcBef>
              <a:spcAft>
                <a:spcPct val="0"/>
              </a:spcAft>
              <a:buClr>
                <a:schemeClr val="accent1"/>
              </a:buClr>
              <a:buChar char="•"/>
              <a:tabLst/>
              <a:defRPr>
                <a:solidFill>
                  <a:schemeClr val="tx1"/>
                </a:solidFill>
                <a:latin typeface="Arial" pitchFamily="34" charset="0"/>
                <a:ea typeface="+mn-ea"/>
                <a:cs typeface="Arial" pitchFamily="34" charset="0"/>
              </a:defRPr>
            </a:lvl5pPr>
            <a:lvl6pPr marL="12207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6pPr>
            <a:lvl7pPr marL="16779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7pPr>
            <a:lvl8pPr marL="21351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8pPr>
            <a:lvl9pPr marL="2592388" indent="-188913" algn="l" rtl="0" eaLnBrk="1" fontAlgn="base" hangingPunct="1">
              <a:lnSpc>
                <a:spcPct val="110000"/>
              </a:lnSpc>
              <a:spcBef>
                <a:spcPct val="0"/>
              </a:spcBef>
              <a:spcAft>
                <a:spcPct val="0"/>
              </a:spcAft>
              <a:buClr>
                <a:schemeClr val="accent1"/>
              </a:buClr>
              <a:buFont typeface="Wingdings" charset="0"/>
              <a:buChar char="§"/>
              <a:defRPr>
                <a:solidFill>
                  <a:schemeClr val="tx1"/>
                </a:solidFill>
                <a:latin typeface="+mn-lt"/>
                <a:ea typeface="+mn-ea"/>
              </a:defRPr>
            </a:lvl9pPr>
          </a:lstStyle>
          <a:p>
            <a:pPr marL="285607" indent="-285607">
              <a:buFont typeface="Arial" panose="020B0604020202020204" pitchFamily="34" charset="0"/>
              <a:buChar char="•"/>
            </a:pPr>
            <a:r>
              <a:rPr lang="en-US" sz="1799" b="1" kern="0" dirty="0"/>
              <a:t>Fully integrated</a:t>
            </a:r>
          </a:p>
          <a:p>
            <a:pPr marL="644203" lvl="2" indent="-285607">
              <a:buFont typeface="Arial" panose="020B0604020202020204" pitchFamily="34" charset="0"/>
              <a:buChar char="•"/>
            </a:pPr>
            <a:r>
              <a:rPr lang="en-US" sz="1799" kern="0" dirty="0"/>
              <a:t>All functions needed for all use cases are integrated in SIGUARD PDP:</a:t>
            </a:r>
          </a:p>
          <a:p>
            <a:pPr marL="1002798" lvl="4" indent="-285607">
              <a:buFont typeface="Arial" panose="020B0604020202020204" pitchFamily="34" charset="0"/>
              <a:buChar char="•"/>
            </a:pPr>
            <a:r>
              <a:rPr lang="en-US" sz="1799" i="1" kern="0" dirty="0"/>
              <a:t>Engineer</a:t>
            </a:r>
            <a:r>
              <a:rPr lang="en-US" sz="1799" kern="0" dirty="0"/>
              <a:t>: integrated configuration tool for PMU, calculation, limit violation, graphic, application and communication</a:t>
            </a:r>
          </a:p>
          <a:p>
            <a:pPr marL="1002798" lvl="4" indent="-285607">
              <a:buFont typeface="Arial" panose="020B0604020202020204" pitchFamily="34" charset="0"/>
              <a:buChar char="•"/>
            </a:pPr>
            <a:r>
              <a:rPr lang="en-US" sz="1799" i="1" kern="0" dirty="0"/>
              <a:t>Multisite manager </a:t>
            </a:r>
            <a:r>
              <a:rPr lang="en-US" sz="1799" kern="0" dirty="0"/>
              <a:t>to distribute tested configuration changes from data maintenance site to productive sites (main, backup, development system), redundant or non-redundant</a:t>
            </a:r>
          </a:p>
          <a:p>
            <a:pPr marL="644023" lvl="2" indent="-285607">
              <a:buFont typeface="Arial" panose="020B0604020202020204" pitchFamily="34" charset="0"/>
              <a:buChar char="•"/>
            </a:pPr>
            <a:r>
              <a:rPr lang="en-US" sz="1799" kern="0" dirty="0"/>
              <a:t>Only one or two servers needed, no additional application servers, no additional database servers, eases system commissioning and maintenance. Virtualization supported.</a:t>
            </a:r>
          </a:p>
          <a:p>
            <a:pPr marL="644023" lvl="2" indent="-285607">
              <a:buFont typeface="Arial" panose="020B0604020202020204" pitchFamily="34" charset="0"/>
              <a:buChar char="•"/>
            </a:pPr>
            <a:r>
              <a:rPr lang="en-US" sz="1799" kern="0" dirty="0"/>
              <a:t>UI workstations and/or UI server with e.g. remote desktop connection supported.</a:t>
            </a:r>
          </a:p>
          <a:p>
            <a:pPr marL="1002798" lvl="4" indent="-285607">
              <a:buFont typeface="Arial" panose="020B0604020202020204" pitchFamily="34" charset="0"/>
              <a:buChar char="•"/>
            </a:pPr>
            <a:endParaRPr lang="en-US" sz="1799" kern="0" dirty="0"/>
          </a:p>
          <a:p>
            <a:pPr marL="1505785" lvl="5" indent="-285607">
              <a:buFont typeface="Arial" panose="020B0604020202020204" pitchFamily="34" charset="0"/>
              <a:buChar char="•"/>
            </a:pPr>
            <a:endParaRPr lang="en-US" sz="1799" kern="0" dirty="0"/>
          </a:p>
          <a:p>
            <a:pPr marL="644203" lvl="2" indent="-285607">
              <a:buFont typeface="Arial" panose="020B0604020202020204" pitchFamily="34" charset="0"/>
              <a:buChar char="•"/>
            </a:pPr>
            <a:endParaRPr lang="en-US" sz="1799" kern="0" dirty="0"/>
          </a:p>
        </p:txBody>
      </p:sp>
      <p:sp>
        <p:nvSpPr>
          <p:cNvPr id="4" name="Fußzeilenplatzhalter 3">
            <a:extLst>
              <a:ext uri="{FF2B5EF4-FFF2-40B4-BE49-F238E27FC236}">
                <a16:creationId xmlns:a16="http://schemas.microsoft.com/office/drawing/2014/main" id="{3CE03343-9D64-40E1-ABEE-A5C3AE49AB89}"/>
              </a:ext>
            </a:extLst>
          </p:cNvPr>
          <p:cNvSpPr>
            <a:spLocks noGrp="1"/>
          </p:cNvSpPr>
          <p:nvPr>
            <p:ph type="ftr" sz="quarter" idx="10"/>
          </p:nvPr>
        </p:nvSpPr>
        <p:spPr/>
        <p:txBody>
          <a:bodyPr/>
          <a:lstStyle/>
          <a:p>
            <a:pPr>
              <a:lnSpc>
                <a:spcPct val="100000"/>
              </a:lnSpc>
            </a:pPr>
            <a:r>
              <a:rPr lang="en-US"/>
              <a:t>Unrestricted | © Siemens 2021 | Dr. Andreas Litzinger, José Malagon | SE DG EA | 2021-05-27</a:t>
            </a:r>
            <a:endParaRPr lang="en-US" dirty="0"/>
          </a:p>
        </p:txBody>
      </p:sp>
      <p:sp>
        <p:nvSpPr>
          <p:cNvPr id="5" name="Foliennummernplatzhalter 4">
            <a:extLst>
              <a:ext uri="{FF2B5EF4-FFF2-40B4-BE49-F238E27FC236}">
                <a16:creationId xmlns:a16="http://schemas.microsoft.com/office/drawing/2014/main" id="{8286EC86-6CC4-4AFD-9BD6-6D5B3F8791A3}"/>
              </a:ext>
            </a:extLst>
          </p:cNvPr>
          <p:cNvSpPr>
            <a:spLocks noGrp="1"/>
          </p:cNvSpPr>
          <p:nvPr>
            <p:ph type="sldNum" sz="quarter" idx="11"/>
          </p:nvPr>
        </p:nvSpPr>
        <p:spPr/>
        <p:txBody>
          <a:bodyPr/>
          <a:lstStyle/>
          <a:p>
            <a:r>
              <a:rPr lang="en-US"/>
              <a:t>Page </a:t>
            </a:r>
            <a:fld id="{15EBE321-CBB1-4E91-BD14-37C8D44326FB}" type="slidenum">
              <a:rPr lang="en-US" smtClean="0"/>
              <a:pPr/>
              <a:t>9</a:t>
            </a:fld>
            <a:endParaRPr lang="en-US" dirty="0"/>
          </a:p>
        </p:txBody>
      </p:sp>
    </p:spTree>
    <p:extLst>
      <p:ext uri="{BB962C8B-B14F-4D97-AF65-F5344CB8AC3E}">
        <p14:creationId xmlns:p14="http://schemas.microsoft.com/office/powerpoint/2010/main" val="1785750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6HsDt6H_B0oq5dju75p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6HsDt6H_B0oq5dju75p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6HsDt6H_B0oq5dju75p9g"/>
</p:tagLst>
</file>

<file path=ppt/tags/tag1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uWgkygQj2WJwr97RS7YA"/>
</p:tagLst>
</file>

<file path=ppt/tags/tag19.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2.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20.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ags/tag3.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646,3749"/>
  <p:tag name="CDT_PROT_HEIGHT" val="374,25"/>
</p:tagLst>
</file>

<file path=ppt/tags/tag4.xml><?xml version="1.0" encoding="utf-8"?>
<p:tagLst xmlns:a="http://schemas.openxmlformats.org/drawingml/2006/main" xmlns:r="http://schemas.openxmlformats.org/officeDocument/2006/relationships" xmlns:p="http://schemas.openxmlformats.org/presentationml/2006/main">
  <p:tag name="CDT_PROT" val="2"/>
  <p:tag name="CDT_PROT_TOP" val="0"/>
  <p:tag name="CDT_PROT_LEFT" val="0"/>
  <p:tag name="CDT_PROT_WIDTH" val="960,5"/>
  <p:tag name="CDT_PROT_HEIGHT" val="99,87504"/>
</p:tagLst>
</file>

<file path=ppt/tags/tag5.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49,37504"/>
  <p:tag name="CDT_PROT_WIDTH" val="283,5"/>
  <p:tag name="CDT_PROT_HEIGHT" val="374,25"/>
</p:tagLst>
</file>

<file path=ppt/tags/tag6.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344,125"/>
  <p:tag name="CDT_PROT_WIDTH" val="283,4646"/>
  <p:tag name="CDT_PROT_HEIGHT" val="374,25"/>
</p:tagLst>
</file>

<file path=ppt/tags/tag7.xml><?xml version="1.0" encoding="utf-8"?>
<p:tagLst xmlns:a="http://schemas.openxmlformats.org/drawingml/2006/main" xmlns:r="http://schemas.openxmlformats.org/officeDocument/2006/relationships" xmlns:p="http://schemas.openxmlformats.org/presentationml/2006/main">
  <p:tag name="CDT_PROT" val="2"/>
  <p:tag name="CDT_PROT_TOP" val="111,25"/>
  <p:tag name="CDT_PROT_LEFT" val="639,0355"/>
  <p:tag name="CDT_PROT_WIDTH" val="283,4646"/>
  <p:tag name="CDT_PROT_HEIGHT" val="374,2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6HsDt6H_B0oq5dju75p9g"/>
</p:tagLst>
</file>

<file path=ppt/theme/theme1.xml><?xml version="1.0" encoding="utf-8"?>
<a:theme xmlns:a="http://schemas.openxmlformats.org/drawingml/2006/main" name="Siemens 2020">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Them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t" anchorCtr="0"/>
      <a:lstStyle>
        <a:defPPr algn="l">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headEnd w="lg" len="lg"/>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Folienmaster_englisch.potx  -  Schreibgeschützt" id="{614A0DB5-3D08-467D-A74E-5DEF830BDD07}" vid="{57864E99-42E0-47CF-AE56-8721AA36766B}"/>
    </a:ext>
  </a:extLst>
</a:theme>
</file>

<file path=ppt/theme/theme2.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iemens AG Theme Color">
      <a:dk1>
        <a:srgbClr val="000000"/>
      </a:dk1>
      <a:lt1>
        <a:sysClr val="window" lastClr="FFFFFF"/>
      </a:lt1>
      <a:dk2>
        <a:srgbClr val="000028"/>
      </a:dk2>
      <a:lt2>
        <a:srgbClr val="F3F3F0"/>
      </a:lt2>
      <a:accent1>
        <a:srgbClr val="009999"/>
      </a:accent1>
      <a:accent2>
        <a:srgbClr val="00D7A0"/>
      </a:accent2>
      <a:accent3>
        <a:srgbClr val="00BEDC"/>
      </a:accent3>
      <a:accent4>
        <a:srgbClr val="0087BE"/>
      </a:accent4>
      <a:accent5>
        <a:srgbClr val="00557C"/>
      </a:accent5>
      <a:accent6>
        <a:srgbClr val="000028"/>
      </a:accent6>
      <a:hlink>
        <a:srgbClr val="00BEDC"/>
      </a:hlink>
      <a:folHlink>
        <a:srgbClr val="0087BE"/>
      </a:folHlink>
    </a:clrScheme>
    <a:fontScheme name="Siemens A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Dark Gray | 102 102 126">
      <a:srgbClr val="66667E"/>
    </a:custClr>
    <a:custClr name="Gray | 153 153 169">
      <a:srgbClr val="9999A9"/>
    </a:custClr>
    <a:custClr name="Soft Gray | 204 204 212">
      <a:srgbClr val="CCCCD4"/>
    </a:custClr>
    <a:custClr name="Light Gray | 229 229 233">
      <a:srgbClr val="E5E5E9"/>
    </a:custClr>
    <a:custClr name="Purple | 170 50 190">
      <a:srgbClr val="AA32BE"/>
    </a:custClr>
    <a:custClr name="Dark Purple | 80 0 120">
      <a:srgbClr val="500078"/>
    </a:custClr>
    <a:custClr name="Yellow | 255 215 50">
      <a:srgbClr val="FFD732"/>
    </a:custClr>
    <a:custClr name="Orange | 255 144 0">
      <a:srgbClr val="FF9000"/>
    </a:custClr>
    <a:custClr name="Soft Red | 254 131 137">
      <a:srgbClr val="FE8389"/>
    </a:custClr>
    <a:custClr name="Red | 239 1 55">
      <a:srgbClr val="EF0137"/>
    </a:custClr>
    <a:custClr name="Bold Green | For creation of the Focus Line">
      <a:srgbClr val="00FFB9"/>
    </a:custClr>
    <a:custClr name="Bold Blue | For creation of the Focus Line">
      <a:srgbClr val="00E6DC"/>
    </a:custClr>
    <a:custClr name="Light Sand | 243 243 240">
      <a:srgbClr val="F3F3F0"/>
    </a:custClr>
    <a:custClr name="Siemens Petrol | 0 153 153">
      <a:srgbClr val="009999"/>
    </a:custClr>
    <a:custClr name="Soft Green | 0 215 160">
      <a:srgbClr val="00D7A0"/>
    </a:custClr>
    <a:custClr name="Green | 0 175 142">
      <a:srgbClr val="00AF8E"/>
    </a:custClr>
    <a:custClr name="Soft Blue | 0 190 220">
      <a:srgbClr val="00BEDC"/>
    </a:custClr>
    <a:custClr name="Blue | 0 135 190">
      <a:srgbClr val="0087BE"/>
    </a:custClr>
    <a:custClr name="Dark Blue | 0 85 124">
      <a:srgbClr val="00557C"/>
    </a:custClr>
    <a:custClr name="Deep Blue | 0 0 40">
      <a:srgbClr val="000028"/>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mso-contentType ?>
<FormTemplates xmlns="http://schemas.microsoft.com/sharepoint/v3/contenttype/forms"/>
</file>

<file path=customXml/item2.xml><?xml version="1.0" encoding="utf-8"?>
<p:properties xmlns:p="http://schemas.microsoft.com/office/2006/metadata/properties" xmlns:xsi="http://www.w3.org/2001/XMLSchema-instance" xmlns:pc="http://schemas.microsoft.com/office/infopath/2007/PartnerControls">
  <documentManagement>
    <Product xmlns="e1d9d0c1-4cd6-4942-96b9-3841b2b00273"/>
    <EMSalesAPPStatus xmlns="e1d9d0c1-4cd6-4942-96b9-3841b2b00273" xsi:nil="true"/>
    <Language xmlns="e1d9d0c1-4cd6-4942-96b9-3841b2b00273">
      <Value>English</Value>
    </Language>
    <Downloads xmlns="e1d9d0c1-4cd6-4942-96b9-3841b2b00273" xsi:nil="true"/>
    <EMSalesAPP xmlns="e1d9d0c1-4cd6-4942-96b9-3841b2b00273">false</EMSalesAPP>
    <Description0 xmlns="e1d9d0c1-4cd6-4942-96b9-3841b2b00273" xsi:nil="true"/>
    <_dlc_DocId xmlns="56810815-8df0-4f10-8da7-34164765fbe3">YVMMVR6AUUN5-34198529-3223</_dlc_DocId>
    <_dlc_DocIdUrl xmlns="56810815-8df0-4f10-8da7-34164765fbe3">
      <Url>https://siemens.sharepoint.com/teams/P0007842/ea-pro-mc/_layouts/15/DocIdRedir.aspx?ID=YVMMVR6AUUN5-34198529-3223</Url>
      <Description>YVMMVR6AUUN5-34198529-3223</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C0BA7EB229AA848BDF3E713A9B94AC7" ma:contentTypeVersion="16" ma:contentTypeDescription="Create a new document." ma:contentTypeScope="" ma:versionID="b5c0117c86234bb11bf6057d30e37325">
  <xsd:schema xmlns:xsd="http://www.w3.org/2001/XMLSchema" xmlns:xs="http://www.w3.org/2001/XMLSchema" xmlns:p="http://schemas.microsoft.com/office/2006/metadata/properties" xmlns:ns2="e1d9d0c1-4cd6-4942-96b9-3841b2b00273" xmlns:ns3="56810815-8df0-4f10-8da7-34164765fbe3" xmlns:ns4="a69c0f4c-3e4a-44b9-be34-a07f35f32974" targetNamespace="http://schemas.microsoft.com/office/2006/metadata/properties" ma:root="true" ma:fieldsID="b0ee02c9093f0bbf414184da0cfafd53" ns2:_="" ns3:_="" ns4:_="">
    <xsd:import namespace="e1d9d0c1-4cd6-4942-96b9-3841b2b00273"/>
    <xsd:import namespace="56810815-8df0-4f10-8da7-34164765fbe3"/>
    <xsd:import namespace="a69c0f4c-3e4a-44b9-be34-a07f35f32974"/>
    <xsd:element name="properties">
      <xsd:complexType>
        <xsd:sequence>
          <xsd:element name="documentManagement">
            <xsd:complexType>
              <xsd:all>
                <xsd:element ref="ns2:Description0" minOccurs="0"/>
                <xsd:element ref="ns2:Product" minOccurs="0"/>
                <xsd:element ref="ns2:Downloads" minOccurs="0"/>
                <xsd:element ref="ns2:Language" minOccurs="0"/>
                <xsd:element ref="ns2:EMSalesAPP" minOccurs="0"/>
                <xsd:element ref="ns2:EMSalesAPPStatus" minOccurs="0"/>
                <xsd:element ref="ns3:_dlc_DocId" minOccurs="0"/>
                <xsd:element ref="ns3:_dlc_DocIdUrl" minOccurs="0"/>
                <xsd:element ref="ns3:_dlc_DocIdPersistId" minOccurs="0"/>
                <xsd:element ref="ns4:SharedWithUsers" minOccurs="0"/>
                <xsd:element ref="ns4:SharedWithDetails" minOccurs="0"/>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d9d0c1-4cd6-4942-96b9-3841b2b00273" elementFormDefault="qualified">
    <xsd:import namespace="http://schemas.microsoft.com/office/2006/documentManagement/types"/>
    <xsd:import namespace="http://schemas.microsoft.com/office/infopath/2007/PartnerControls"/>
    <xsd:element name="Description0" ma:index="4" nillable="true" ma:displayName="Description" ma:internalName="Description0" ma:readOnly="false">
      <xsd:simpleType>
        <xsd:restriction base="dms:Note">
          <xsd:maxLength value="255"/>
        </xsd:restriction>
      </xsd:simpleType>
    </xsd:element>
    <xsd:element name="Product" ma:index="5" nillable="true" ma:displayName="Product" ma:internalName="Product" ma:readOnly="false">
      <xsd:complexType>
        <xsd:complexContent>
          <xsd:extension base="dms:MultiChoice">
            <xsd:sequence>
              <xsd:element name="Value" maxOccurs="unbounded" minOccurs="0" nillable="true">
                <xsd:simpleType>
                  <xsd:restriction base="dms:Choice">
                    <xsd:enumeration value="POA"/>
                    <xsd:enumeration value="SIPROTEC 5 General"/>
                    <xsd:enumeration value="SIPROTEC 4 General"/>
                    <xsd:enumeration value="SIPROTEC Compact General"/>
                    <xsd:enumeration value="Reyrolle General"/>
                    <xsd:enumeration value="PQM General"/>
                    <xsd:enumeration value="SICAM RTUs General"/>
                    <xsd:enumeration value="SICAM General"/>
                    <xsd:enumeration value="Cyber Security General"/>
                  </xsd:restriction>
                </xsd:simpleType>
              </xsd:element>
            </xsd:sequence>
          </xsd:extension>
        </xsd:complexContent>
      </xsd:complexType>
    </xsd:element>
    <xsd:element name="Downloads" ma:index="6" nillable="true" ma:displayName="Downloads" ma:format="Dropdown" ma:internalName="Downloads" ma:readOnly="false">
      <xsd:simpleType>
        <xsd:restriction base="dms:Choice">
          <xsd:enumeration value="Application Notes"/>
          <xsd:enumeration value="Brochures"/>
          <xsd:enumeration value="Catalogs"/>
          <xsd:enumeration value="Certificates"/>
          <xsd:enumeration value="Device Driver and Firmware"/>
          <xsd:enumeration value="Engineering Information"/>
          <xsd:enumeration value="Guideform Specifications"/>
          <xsd:enumeration value="Manuals"/>
          <xsd:enumeration value="Ordering Information"/>
          <xsd:enumeration value="Other Sales Information"/>
          <xsd:enumeration value="Presentation Slides"/>
          <xsd:enumeration value="Product Lifecycle Information"/>
          <xsd:enumeration value="References"/>
          <xsd:enumeration value="Software"/>
        </xsd:restriction>
      </xsd:simpleType>
    </xsd:element>
    <xsd:element name="Language" ma:index="7" nillable="true" ma:displayName="Language" ma:internalName="Language" ma:readOnly="false">
      <xsd:complexType>
        <xsd:complexContent>
          <xsd:extension base="dms:MultiChoice">
            <xsd:sequence>
              <xsd:element name="Value" maxOccurs="unbounded" minOccurs="0" nillable="true">
                <xsd:simpleType>
                  <xsd:restriction base="dms:Choice">
                    <xsd:enumeration value="German"/>
                    <xsd:enumeration value="English"/>
                    <xsd:enumeration value="Dutch"/>
                    <xsd:enumeration value="French"/>
                    <xsd:enumeration value="Italian"/>
                    <xsd:enumeration value="Portuguese"/>
                    <xsd:enumeration value="Russian"/>
                    <xsd:enumeration value="Spanish"/>
                    <xsd:enumeration value="Swedish"/>
                    <xsd:enumeration value="Turkish"/>
                  </xsd:restriction>
                </xsd:simpleType>
              </xsd:element>
            </xsd:sequence>
          </xsd:extension>
        </xsd:complexContent>
      </xsd:complexType>
    </xsd:element>
    <xsd:element name="EMSalesAPP" ma:index="8" nillable="true" ma:displayName="EM Sales APP" ma:default="0" ma:description="Field only set by Marketing - File available in EM Sales APP" ma:indexed="true" ma:internalName="EMSalesAPP" ma:readOnly="false">
      <xsd:simpleType>
        <xsd:restriction base="dms:Boolean"/>
      </xsd:simpleType>
    </xsd:element>
    <xsd:element name="EMSalesAPPStatus" ma:index="9" nillable="true" ma:displayName="EM Sales APP Status" ma:internalName="EMSalesAPPStatus" ma:readOnly="false">
      <xsd:simpleType>
        <xsd:restriction base="dms:Text">
          <xsd:maxLength value="255"/>
        </xsd:restriction>
      </xsd:simpleType>
    </xsd:element>
    <xsd:element name="MediaServiceMetadata" ma:index="19" nillable="true" ma:displayName="MediaServiceMetadata" ma:hidden="true" ma:internalName="MediaServiceMetadata" ma:readOnly="true">
      <xsd:simpleType>
        <xsd:restriction base="dms:Note"/>
      </xsd:simpleType>
    </xsd:element>
    <xsd:element name="MediaServiceFastMetadata" ma:index="20" nillable="true" ma:displayName="MediaServiceFastMetadata" ma:hidden="true" ma:internalName="MediaServiceFastMetadata" ma:readOnly="true">
      <xsd:simpleType>
        <xsd:restriction base="dms:Note"/>
      </xsd:simpleType>
    </xsd:element>
    <xsd:element name="MediaServiceAutoTags" ma:index="21" nillable="true" ma:displayName="Tags" ma:internalName="MediaServiceAutoTags"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DateTaken" ma:index="25"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810815-8df0-4f10-8da7-34164765fbe3" elementFormDefault="qualified">
    <xsd:import namespace="http://schemas.microsoft.com/office/2006/documentManagement/types"/>
    <xsd:import namespace="http://schemas.microsoft.com/office/infopath/2007/PartnerControls"/>
    <xsd:element name="_dlc_DocId" ma:index="14" nillable="true" ma:displayName="Document ID Value" ma:description="The value of the document ID assigned to this item." ma:internalName="_dlc_DocId" ma:readOnly="true">
      <xsd:simpleType>
        <xsd:restriction base="dms:Text"/>
      </xsd:simpleType>
    </xsd:element>
    <xsd:element name="_dlc_DocIdUrl" ma:index="1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6"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a69c0f4c-3e4a-44b9-be34-a07f35f3297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file>

<file path=customXml/item5.xml><?xml version="1.0" encoding="utf-8"?>
<p4ppTags>
  <Name>Free Content</Name>
  <PpLayout>11</PpLayout>
  <Index>9</Index>
</p4ppTags>
</file>

<file path=customXml/item6.xml><?xml version="1.0" encoding="utf-8"?>
<p4ppTags>
  <Name>One object (large)</Name>
  <PpLayout>16</PpLayout>
  <Index>10</Index>
</p4ppTags>
</file>

<file path=customXml/item7.xml><?xml version="1.0" encoding="utf-8"?>
<p4ppTags>
  <Name>Three columns</Name>
  <PpLayout>32</PpLayout>
  <Index>14</Index>
</p4ppTags>
</file>

<file path=customXml/itemProps1.xml><?xml version="1.0" encoding="utf-8"?>
<ds:datastoreItem xmlns:ds="http://schemas.openxmlformats.org/officeDocument/2006/customXml" ds:itemID="{A1DA9931-637E-4908-9DA3-B9D4A98BEE05}">
  <ds:schemaRefs>
    <ds:schemaRef ds:uri="http://schemas.microsoft.com/sharepoint/v3/contenttype/forms"/>
  </ds:schemaRefs>
</ds:datastoreItem>
</file>

<file path=customXml/itemProps2.xml><?xml version="1.0" encoding="utf-8"?>
<ds:datastoreItem xmlns:ds="http://schemas.openxmlformats.org/officeDocument/2006/customXml" ds:itemID="{6DDD1B8F-1BD8-49B5-AD73-7D1A4515D7AE}">
  <ds:schemaRefs>
    <ds:schemaRef ds:uri="http://purl.org/dc/elements/1.1/"/>
    <ds:schemaRef ds:uri="http://schemas.microsoft.com/office/2006/metadata/properties"/>
    <ds:schemaRef ds:uri="e1d9d0c1-4cd6-4942-96b9-3841b2b00273"/>
    <ds:schemaRef ds:uri="http://purl.org/dc/terms/"/>
    <ds:schemaRef ds:uri="http://schemas.openxmlformats.org/package/2006/metadata/core-properties"/>
    <ds:schemaRef ds:uri="http://purl.org/dc/dcmitype/"/>
    <ds:schemaRef ds:uri="56810815-8df0-4f10-8da7-34164765fbe3"/>
    <ds:schemaRef ds:uri="http://schemas.microsoft.com/office/2006/documentManagement/types"/>
    <ds:schemaRef ds:uri="http://schemas.microsoft.com/office/infopath/2007/PartnerControls"/>
    <ds:schemaRef ds:uri="a69c0f4c-3e4a-44b9-be34-a07f35f32974"/>
    <ds:schemaRef ds:uri="http://www.w3.org/XML/1998/namespace"/>
  </ds:schemaRefs>
</ds:datastoreItem>
</file>

<file path=customXml/itemProps3.xml><?xml version="1.0" encoding="utf-8"?>
<ds:datastoreItem xmlns:ds="http://schemas.openxmlformats.org/officeDocument/2006/customXml" ds:itemID="{91C5DA4D-BEAB-4037-8AD2-8508E11F2C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1d9d0c1-4cd6-4942-96b9-3841b2b00273"/>
    <ds:schemaRef ds:uri="56810815-8df0-4f10-8da7-34164765fbe3"/>
    <ds:schemaRef ds:uri="a69c0f4c-3e4a-44b9-be34-a07f35f3297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0752DEE-5A1E-447F-A8D2-240336412A56}">
  <ds:schemaRefs>
    <ds:schemaRef ds:uri="http://schemas.microsoft.com/sharepoint/events"/>
  </ds:schemaRefs>
</ds:datastoreItem>
</file>

<file path=customXml/itemProps5.xml><?xml version="1.0" encoding="utf-8"?>
<ds:datastoreItem xmlns:ds="http://schemas.openxmlformats.org/officeDocument/2006/customXml" ds:itemID="{55EA35FF-FB51-44A0-AD81-189E385EA934}">
  <ds:schemaRefs/>
</ds:datastoreItem>
</file>

<file path=customXml/itemProps6.xml><?xml version="1.0" encoding="utf-8"?>
<ds:datastoreItem xmlns:ds="http://schemas.openxmlformats.org/officeDocument/2006/customXml" ds:itemID="{9EB793AA-B917-4245-905F-8BF82FA35822}">
  <ds:schemaRefs/>
</ds:datastoreItem>
</file>

<file path=customXml/itemProps7.xml><?xml version="1.0" encoding="utf-8"?>
<ds:datastoreItem xmlns:ds="http://schemas.openxmlformats.org/officeDocument/2006/customXml" ds:itemID="{42BAD06E-9785-4C7F-9724-47F402EF5112}">
  <ds:schemaRefs/>
</ds:datastoreItem>
</file>

<file path=docProps/app.xml><?xml version="1.0" encoding="utf-8"?>
<Properties xmlns="http://schemas.openxmlformats.org/officeDocument/2006/extended-properties" xmlns:vt="http://schemas.openxmlformats.org/officeDocument/2006/docPropsVTypes">
  <Template>Folienmaster_englisch</Template>
  <TotalTime>0</TotalTime>
  <Words>3470</Words>
  <Application>Microsoft Office PowerPoint</Application>
  <PresentationFormat>Breitbild</PresentationFormat>
  <Paragraphs>617</Paragraphs>
  <Slides>35</Slides>
  <Notes>3</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2</vt:i4>
      </vt:variant>
      <vt:variant>
        <vt:lpstr>Folientitel</vt:lpstr>
      </vt:variant>
      <vt:variant>
        <vt:i4>35</vt:i4>
      </vt:variant>
    </vt:vector>
  </HeadingPairs>
  <TitlesOfParts>
    <vt:vector size="43" baseType="lpstr">
      <vt:lpstr>Arial</vt:lpstr>
      <vt:lpstr>Arial</vt:lpstr>
      <vt:lpstr>Calibri</vt:lpstr>
      <vt:lpstr>Open Sans</vt:lpstr>
      <vt:lpstr>Wingdings</vt:lpstr>
      <vt:lpstr>Siemens 2020</vt:lpstr>
      <vt:lpstr>think-cell Folie</vt:lpstr>
      <vt:lpstr>Visio</vt:lpstr>
      <vt:lpstr>Scalable WAMPAC product SIGUARD PDP and its application in system stability observation and protection</vt:lpstr>
      <vt:lpstr> </vt:lpstr>
      <vt:lpstr>SIGUARD PDP</vt:lpstr>
      <vt:lpstr>SIGUARD PDP Highlights</vt:lpstr>
      <vt:lpstr>SIGUARD PDP Highlights</vt:lpstr>
      <vt:lpstr>SIGUARD PDP Highlights</vt:lpstr>
      <vt:lpstr>SIGUARD PDP Components</vt:lpstr>
      <vt:lpstr>SIGUARD PDP Components</vt:lpstr>
      <vt:lpstr>SIGUARD PDP Components</vt:lpstr>
      <vt:lpstr>SIGUARD PDP Experience</vt:lpstr>
      <vt:lpstr>SIGUARD PDP Use cases</vt:lpstr>
      <vt:lpstr>SIGUARD PDP Oscillation monitoring application</vt:lpstr>
      <vt:lpstr>SIGUARD PDP Architecture examples</vt:lpstr>
      <vt:lpstr>SIGUARD PDP Architecture examples</vt:lpstr>
      <vt:lpstr>System Stability Observation and Protection</vt:lpstr>
      <vt:lpstr> </vt:lpstr>
      <vt:lpstr>What Actions are Possible? Preventive N-1 Operation  state of the art</vt:lpstr>
      <vt:lpstr>What Actions are Possible? Change of limits where possible</vt:lpstr>
      <vt:lpstr>What Actions are possible? Corrective actions (slow)</vt:lpstr>
      <vt:lpstr>What Actions are possible? Corrective actions (fast)</vt:lpstr>
      <vt:lpstr>WIDE AREA PROTECTION SYSTEMS  (WAP) WHEN? WHY?  </vt:lpstr>
      <vt:lpstr>SIGUARD PDP Wide area PROTECTION system </vt:lpstr>
      <vt:lpstr>SIGUARD PDP WAMPAC Components</vt:lpstr>
      <vt:lpstr>SIGUARD PDP Components</vt:lpstr>
      <vt:lpstr>SIGUARD PDP Components</vt:lpstr>
      <vt:lpstr>SIGUARD PDP Components</vt:lpstr>
      <vt:lpstr>SIGUARD PDP Calculations for WAP</vt:lpstr>
      <vt:lpstr>SIGUARD PDP Calculations for WAP</vt:lpstr>
      <vt:lpstr>SIGUARD PDP Calculations for WAP</vt:lpstr>
      <vt:lpstr>SIGUARD PDP Calculation example of the WAP logic implemented </vt:lpstr>
      <vt:lpstr>WAP SICAM A8000 and SICAM SCC</vt:lpstr>
      <vt:lpstr>Wide Area protection with redundancy</vt:lpstr>
      <vt:lpstr>System Test</vt:lpstr>
      <vt:lpstr>Disclaimer</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chart two-line headline, Arial, 80 pt</dc:title>
  <dc:creator>Litzinger, Andreas (SI DG EA-P&amp;R DE-HP)</dc:creator>
  <cp:keywords>Template</cp:keywords>
  <dc:description>Version 3.0.8
September 2020</dc:description>
  <cp:lastModifiedBy>Litzinger, Andreas (SI DG EA-P&amp;R DE-HP)</cp:lastModifiedBy>
  <cp:revision>6</cp:revision>
  <dcterms:created xsi:type="dcterms:W3CDTF">2021-05-13T12:17:04Z</dcterms:created>
  <dcterms:modified xsi:type="dcterms:W3CDTF">2021-05-15T09:59: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C0BA7EB229AA848BDF3E713A9B94AC7</vt:lpwstr>
  </property>
  <property fmtid="{D5CDD505-2E9C-101B-9397-08002B2CF9AE}" pid="3" name="Order">
    <vt:r8>322300</vt:r8>
  </property>
  <property fmtid="{D5CDD505-2E9C-101B-9397-08002B2CF9AE}" pid="4" name="_dlc_DocIdItemGuid">
    <vt:lpwstr>ba08a3f3-6a61-4886-a4f9-546225f86a91</vt:lpwstr>
  </property>
  <property fmtid="{D5CDD505-2E9C-101B-9397-08002B2CF9AE}" pid="6" name="_NewReviewCycle">
    <vt:lpwstr/>
  </property>
  <property fmtid="{D5CDD505-2E9C-101B-9397-08002B2CF9AE}" pid="10" name="MSIP_Label_6f75f480-7803-4ee9-bb54-84d0635fdbe7_Enabled">
    <vt:lpwstr>true</vt:lpwstr>
  </property>
  <property fmtid="{D5CDD505-2E9C-101B-9397-08002B2CF9AE}" pid="11" name="MSIP_Label_6f75f480-7803-4ee9-bb54-84d0635fdbe7_SetDate">
    <vt:lpwstr>2021-05-13T21:08:02Z</vt:lpwstr>
  </property>
  <property fmtid="{D5CDD505-2E9C-101B-9397-08002B2CF9AE}" pid="12" name="MSIP_Label_6f75f480-7803-4ee9-bb54-84d0635fdbe7_Method">
    <vt:lpwstr>Privileged</vt:lpwstr>
  </property>
  <property fmtid="{D5CDD505-2E9C-101B-9397-08002B2CF9AE}" pid="13" name="MSIP_Label_6f75f480-7803-4ee9-bb54-84d0635fdbe7_Name">
    <vt:lpwstr>unrestricted</vt:lpwstr>
  </property>
  <property fmtid="{D5CDD505-2E9C-101B-9397-08002B2CF9AE}" pid="14" name="MSIP_Label_6f75f480-7803-4ee9-bb54-84d0635fdbe7_SiteId">
    <vt:lpwstr>38ae3bcd-9579-4fd4-adda-b42e1495d55a</vt:lpwstr>
  </property>
  <property fmtid="{D5CDD505-2E9C-101B-9397-08002B2CF9AE}" pid="15" name="MSIP_Label_6f75f480-7803-4ee9-bb54-84d0635fdbe7_ActionId">
    <vt:lpwstr>89c9076b-a780-42a0-a373-aa6a10694f18</vt:lpwstr>
  </property>
  <property fmtid="{D5CDD505-2E9C-101B-9397-08002B2CF9AE}" pid="16" name="MSIP_Label_6f75f480-7803-4ee9-bb54-84d0635fdbe7_ContentBits">
    <vt:lpwstr>0</vt:lpwstr>
  </property>
  <property fmtid="{D5CDD505-2E9C-101B-9397-08002B2CF9AE}" pid="17" name="Document_Confidentiality">
    <vt:lpwstr>Unrestricted</vt:lpwstr>
  </property>
</Properties>
</file>